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3" r:id="rId2"/>
  </p:sldMasterIdLst>
  <p:notesMasterIdLst>
    <p:notesMasterId r:id="rId104"/>
  </p:notesMasterIdLst>
  <p:sldIdLst>
    <p:sldId id="257" r:id="rId3"/>
    <p:sldId id="547" r:id="rId4"/>
    <p:sldId id="548" r:id="rId5"/>
    <p:sldId id="551" r:id="rId6"/>
    <p:sldId id="549" r:id="rId7"/>
    <p:sldId id="550" r:id="rId8"/>
    <p:sldId id="552" r:id="rId9"/>
    <p:sldId id="526" r:id="rId10"/>
    <p:sldId id="649" r:id="rId11"/>
    <p:sldId id="650" r:id="rId12"/>
    <p:sldId id="651" r:id="rId13"/>
    <p:sldId id="652" r:id="rId14"/>
    <p:sldId id="653" r:id="rId15"/>
    <p:sldId id="654" r:id="rId16"/>
    <p:sldId id="655" r:id="rId17"/>
    <p:sldId id="527" r:id="rId18"/>
    <p:sldId id="638" r:id="rId19"/>
    <p:sldId id="639" r:id="rId20"/>
    <p:sldId id="640" r:id="rId21"/>
    <p:sldId id="641" r:id="rId22"/>
    <p:sldId id="642" r:id="rId23"/>
    <p:sldId id="663" r:id="rId24"/>
    <p:sldId id="528" r:id="rId25"/>
    <p:sldId id="656" r:id="rId26"/>
    <p:sldId id="657" r:id="rId27"/>
    <p:sldId id="658" r:id="rId28"/>
    <p:sldId id="659" r:id="rId29"/>
    <p:sldId id="660" r:id="rId30"/>
    <p:sldId id="661" r:id="rId31"/>
    <p:sldId id="662" r:id="rId32"/>
    <p:sldId id="535" r:id="rId33"/>
    <p:sldId id="644" r:id="rId34"/>
    <p:sldId id="645" r:id="rId35"/>
    <p:sldId id="646" r:id="rId36"/>
    <p:sldId id="647" r:id="rId37"/>
    <p:sldId id="648" r:id="rId38"/>
    <p:sldId id="664" r:id="rId39"/>
    <p:sldId id="637" r:id="rId40"/>
    <p:sldId id="575" r:id="rId41"/>
    <p:sldId id="576" r:id="rId42"/>
    <p:sldId id="577" r:id="rId43"/>
    <p:sldId id="578" r:id="rId44"/>
    <p:sldId id="579" r:id="rId45"/>
    <p:sldId id="580" r:id="rId46"/>
    <p:sldId id="581" r:id="rId47"/>
    <p:sldId id="582" r:id="rId48"/>
    <p:sldId id="583" r:id="rId49"/>
    <p:sldId id="584" r:id="rId50"/>
    <p:sldId id="585" r:id="rId51"/>
    <p:sldId id="586" r:id="rId52"/>
    <p:sldId id="587" r:id="rId53"/>
    <p:sldId id="588" r:id="rId54"/>
    <p:sldId id="589" r:id="rId55"/>
    <p:sldId id="590" r:id="rId56"/>
    <p:sldId id="591" r:id="rId57"/>
    <p:sldId id="592" r:id="rId58"/>
    <p:sldId id="593" r:id="rId59"/>
    <p:sldId id="594" r:id="rId60"/>
    <p:sldId id="595" r:id="rId61"/>
    <p:sldId id="596" r:id="rId62"/>
    <p:sldId id="597" r:id="rId63"/>
    <p:sldId id="598" r:id="rId64"/>
    <p:sldId id="599" r:id="rId65"/>
    <p:sldId id="600" r:id="rId66"/>
    <p:sldId id="601" r:id="rId67"/>
    <p:sldId id="602" r:id="rId68"/>
    <p:sldId id="603" r:id="rId69"/>
    <p:sldId id="604" r:id="rId70"/>
    <p:sldId id="605" r:id="rId71"/>
    <p:sldId id="606" r:id="rId72"/>
    <p:sldId id="607" r:id="rId73"/>
    <p:sldId id="608" r:id="rId74"/>
    <p:sldId id="609" r:id="rId75"/>
    <p:sldId id="610" r:id="rId76"/>
    <p:sldId id="611" r:id="rId77"/>
    <p:sldId id="612" r:id="rId78"/>
    <p:sldId id="613" r:id="rId79"/>
    <p:sldId id="614" r:id="rId80"/>
    <p:sldId id="615" r:id="rId81"/>
    <p:sldId id="616" r:id="rId82"/>
    <p:sldId id="617" r:id="rId83"/>
    <p:sldId id="618" r:id="rId84"/>
    <p:sldId id="619" r:id="rId85"/>
    <p:sldId id="620" r:id="rId86"/>
    <p:sldId id="621" r:id="rId87"/>
    <p:sldId id="622" r:id="rId88"/>
    <p:sldId id="623" r:id="rId89"/>
    <p:sldId id="624" r:id="rId90"/>
    <p:sldId id="625" r:id="rId91"/>
    <p:sldId id="626" r:id="rId92"/>
    <p:sldId id="627" r:id="rId93"/>
    <p:sldId id="628" r:id="rId94"/>
    <p:sldId id="629" r:id="rId95"/>
    <p:sldId id="630" r:id="rId96"/>
    <p:sldId id="631" r:id="rId97"/>
    <p:sldId id="632" r:id="rId98"/>
    <p:sldId id="633" r:id="rId99"/>
    <p:sldId id="634" r:id="rId100"/>
    <p:sldId id="635" r:id="rId101"/>
    <p:sldId id="636" r:id="rId102"/>
    <p:sldId id="525" r:id="rId10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91" autoAdjust="0"/>
    <p:restoredTop sz="94660"/>
  </p:normalViewPr>
  <p:slideViewPr>
    <p:cSldViewPr>
      <p:cViewPr varScale="1">
        <p:scale>
          <a:sx n="111" d="100"/>
          <a:sy n="111" d="100"/>
        </p:scale>
        <p:origin x="-1590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07" Type="http://schemas.openxmlformats.org/officeDocument/2006/relationships/theme" Target="theme/theme1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87" Type="http://schemas.openxmlformats.org/officeDocument/2006/relationships/slide" Target="slides/slide85.xml"/><Relationship Id="rId102" Type="http://schemas.openxmlformats.org/officeDocument/2006/relationships/slide" Target="slides/slide100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103" Type="http://schemas.openxmlformats.org/officeDocument/2006/relationships/slide" Target="slides/slide101.xml"/><Relationship Id="rId108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viewProps" Target="viewProp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Vunesp\Desktop\Modelo%20Tabela%20de%20Resultados%20%20LP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st-mun'!$B$28</c:f>
              <c:strCache>
                <c:ptCount val="1"/>
                <c:pt idx="0">
                  <c:v>Adequada</c:v>
                </c:pt>
              </c:strCache>
            </c:strRef>
          </c:tx>
          <c:spPr>
            <a:ln>
              <a:solidFill>
                <a:srgbClr val="2CAE2F"/>
              </a:solidFill>
            </a:ln>
          </c:spPr>
          <c:marker>
            <c:spPr>
              <a:solidFill>
                <a:srgbClr val="2CAE2F"/>
              </a:solidFill>
              <a:ln>
                <a:solidFill>
                  <a:srgbClr val="2CAE2F"/>
                </a:solidFill>
              </a:ln>
            </c:spPr>
          </c:marker>
          <c:cat>
            <c:strRef>
              <c:f>'est-mun'!$A$29:$A$35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29:$B$35</c:f>
              <c:numCache>
                <c:formatCode>General</c:formatCode>
                <c:ptCount val="7"/>
                <c:pt idx="0">
                  <c:v>185</c:v>
                </c:pt>
                <c:pt idx="1">
                  <c:v>200</c:v>
                </c:pt>
                <c:pt idx="2">
                  <c:v>225</c:v>
                </c:pt>
                <c:pt idx="3">
                  <c:v>275</c:v>
                </c:pt>
                <c:pt idx="4">
                  <c:v>280</c:v>
                </c:pt>
                <c:pt idx="5">
                  <c:v>285</c:v>
                </c:pt>
                <c:pt idx="6">
                  <c:v>3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est-mun'!$C$28</c:f>
              <c:strCache>
                <c:ptCount val="1"/>
                <c:pt idx="0">
                  <c:v>Estado do Pará</c:v>
                </c:pt>
              </c:strCache>
            </c:strRef>
          </c:tx>
          <c:cat>
            <c:strRef>
              <c:f>'est-mun'!$A$29:$A$35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29:$C$35</c:f>
              <c:numCache>
                <c:formatCode>0.0</c:formatCode>
                <c:ptCount val="7"/>
                <c:pt idx="0">
                  <c:v>135.19999999999999</c:v>
                </c:pt>
                <c:pt idx="1">
                  <c:v>158</c:v>
                </c:pt>
                <c:pt idx="2">
                  <c:v>188</c:v>
                </c:pt>
                <c:pt idx="3">
                  <c:v>204.5</c:v>
                </c:pt>
                <c:pt idx="4">
                  <c:v>213</c:v>
                </c:pt>
                <c:pt idx="5">
                  <c:v>222.8</c:v>
                </c:pt>
                <c:pt idx="6">
                  <c:v>227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est-mun'!$D$28</c:f>
              <c:strCache>
                <c:ptCount val="1"/>
                <c:pt idx="0">
                  <c:v>Rede Estadual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70C0"/>
              </a:solidFill>
            </c:spPr>
          </c:marker>
          <c:cat>
            <c:strRef>
              <c:f>'est-mun'!$A$29:$A$35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29:$D$35</c:f>
              <c:numCache>
                <c:formatCode>0.0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est-mun'!$E$28</c:f>
              <c:strCache>
                <c:ptCount val="1"/>
                <c:pt idx="0">
                  <c:v>Média das Redes Municipais</c:v>
                </c:pt>
              </c:strCache>
            </c:strRef>
          </c:tx>
          <c:spPr>
            <a:ln>
              <a:solidFill>
                <a:schemeClr val="bg2">
                  <a:lumMod val="10000"/>
                </a:schemeClr>
              </a:solidFill>
            </a:ln>
          </c:spPr>
          <c:marker>
            <c:spPr>
              <a:solidFill>
                <a:schemeClr val="bg2">
                  <a:lumMod val="10000"/>
                </a:schemeClr>
              </a:solidFill>
              <a:ln>
                <a:solidFill>
                  <a:schemeClr val="accent6">
                    <a:lumMod val="75000"/>
                  </a:schemeClr>
                </a:solidFill>
              </a:ln>
            </c:spPr>
          </c:marker>
          <c:cat>
            <c:strRef>
              <c:f>'est-mun'!$A$29:$A$35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E$29:$E$35</c:f>
              <c:numCache>
                <c:formatCode>0.0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  <c:pt idx="4">
                  <c:v>235.5</c:v>
                </c:pt>
                <c:pt idx="5">
                  <c:v>266.2</c:v>
                </c:pt>
                <c:pt idx="6">
                  <c:v>274.7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est-mun'!$F$28</c:f>
              <c:strCache>
                <c:ptCount val="1"/>
                <c:pt idx="0">
                  <c:v>Básica</c:v>
                </c:pt>
              </c:strCache>
            </c:strRef>
          </c:tx>
          <c:spPr>
            <a:ln>
              <a:solidFill>
                <a:schemeClr val="accent6"/>
              </a:solidFill>
            </a:ln>
          </c:spPr>
          <c:marker>
            <c:symbol val="square"/>
            <c:size val="7"/>
            <c:spPr>
              <a:solidFill>
                <a:srgbClr val="C00000"/>
              </a:solidFill>
              <a:ln>
                <a:solidFill>
                  <a:schemeClr val="accent6"/>
                </a:solidFill>
              </a:ln>
            </c:spPr>
          </c:marker>
          <c:cat>
            <c:strRef>
              <c:f>'est-mun'!$A$29:$A$35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F$29:$F$35</c:f>
              <c:numCache>
                <c:formatCode>General</c:formatCode>
                <c:ptCount val="7"/>
                <c:pt idx="0">
                  <c:v>135</c:v>
                </c:pt>
                <c:pt idx="1">
                  <c:v>150</c:v>
                </c:pt>
                <c:pt idx="2">
                  <c:v>175</c:v>
                </c:pt>
                <c:pt idx="3">
                  <c:v>200</c:v>
                </c:pt>
                <c:pt idx="4">
                  <c:v>215</c:v>
                </c:pt>
                <c:pt idx="5">
                  <c:v>230</c:v>
                </c:pt>
                <c:pt idx="6">
                  <c:v>2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265856"/>
        <c:axId val="110267776"/>
      </c:lineChart>
      <c:catAx>
        <c:axId val="110265856"/>
        <c:scaling>
          <c:orientation val="minMax"/>
        </c:scaling>
        <c:delete val="0"/>
        <c:axPos val="b"/>
        <c:majorTickMark val="out"/>
        <c:minorTickMark val="none"/>
        <c:tickLblPos val="nextTo"/>
        <c:crossAx val="110267776"/>
        <c:crosses val="autoZero"/>
        <c:auto val="1"/>
        <c:lblAlgn val="ctr"/>
        <c:lblOffset val="100"/>
        <c:noMultiLvlLbl val="0"/>
      </c:catAx>
      <c:valAx>
        <c:axId val="110267776"/>
        <c:scaling>
          <c:orientation val="minMax"/>
          <c:max val="350"/>
          <c:min val="125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0265856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st-mun'!$B$7</c:f>
              <c:strCache>
                <c:ptCount val="1"/>
                <c:pt idx="0">
                  <c:v>Adequada</c:v>
                </c:pt>
              </c:strCache>
            </c:strRef>
          </c:tx>
          <c:spPr>
            <a:ln>
              <a:solidFill>
                <a:srgbClr val="2CAE2F"/>
              </a:solidFill>
            </a:ln>
          </c:spPr>
          <c:marker>
            <c:spPr>
              <a:solidFill>
                <a:srgbClr val="2CAE2F"/>
              </a:solidFill>
              <a:ln>
                <a:solidFill>
                  <a:srgbClr val="2CAE2F"/>
                </a:solidFill>
              </a:ln>
            </c:spPr>
          </c:marker>
          <c:cat>
            <c:strRef>
              <c:f>'est-mun'!$A$8:$A$1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8:$B$14</c:f>
              <c:numCache>
                <c:formatCode>General</c:formatCode>
                <c:ptCount val="7"/>
                <c:pt idx="0">
                  <c:v>210</c:v>
                </c:pt>
                <c:pt idx="1">
                  <c:v>225</c:v>
                </c:pt>
                <c:pt idx="2">
                  <c:v>250</c:v>
                </c:pt>
                <c:pt idx="3">
                  <c:v>300</c:v>
                </c:pt>
                <c:pt idx="4">
                  <c:v>305</c:v>
                </c:pt>
                <c:pt idx="5">
                  <c:v>325</c:v>
                </c:pt>
                <c:pt idx="6">
                  <c:v>3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est-mun'!$C$7</c:f>
              <c:strCache>
                <c:ptCount val="1"/>
                <c:pt idx="0">
                  <c:v>Estado do Pará</c:v>
                </c:pt>
              </c:strCache>
            </c:strRef>
          </c:tx>
          <c:cat>
            <c:strRef>
              <c:f>'est-mun'!$A$8:$A$1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8:$C$14</c:f>
              <c:numCache>
                <c:formatCode>General</c:formatCode>
                <c:ptCount val="7"/>
                <c:pt idx="0">
                  <c:v>143.4</c:v>
                </c:pt>
                <c:pt idx="1">
                  <c:v>160.30000000000001</c:v>
                </c:pt>
                <c:pt idx="2">
                  <c:v>191.9</c:v>
                </c:pt>
                <c:pt idx="3">
                  <c:v>219.6</c:v>
                </c:pt>
                <c:pt idx="4" formatCode="0.0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est-mun'!$D$7</c:f>
              <c:strCache>
                <c:ptCount val="1"/>
                <c:pt idx="0">
                  <c:v>Rede Estadual</c:v>
                </c:pt>
              </c:strCache>
            </c:strRef>
          </c:tx>
          <c:cat>
            <c:strRef>
              <c:f>'est-mun'!$A$8:$A$1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8:$D$14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 formatCode="0.0">
                  <c:v>190</c:v>
                </c:pt>
                <c:pt idx="3">
                  <c:v>217.5</c:v>
                </c:pt>
                <c:pt idx="4" formatCode="0.0">
                  <c:v>230</c:v>
                </c:pt>
                <c:pt idx="5">
                  <c:v>235.9</c:v>
                </c:pt>
                <c:pt idx="6" formatCode="0.0">
                  <c:v>239.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est-mun'!$E$7</c:f>
              <c:strCache>
                <c:ptCount val="1"/>
                <c:pt idx="0">
                  <c:v>Média das Redes Municipais</c:v>
                </c:pt>
              </c:strCache>
            </c:strRef>
          </c:tx>
          <c:spPr>
            <a:ln>
              <a:solidFill>
                <a:schemeClr val="bg2">
                  <a:lumMod val="10000"/>
                </a:schemeClr>
              </a:solidFill>
            </a:ln>
          </c:spPr>
          <c:marker>
            <c:spPr>
              <a:solidFill>
                <a:schemeClr val="bg2">
                  <a:lumMod val="10000"/>
                </a:schemeClr>
              </a:solidFill>
              <a:ln>
                <a:solidFill>
                  <a:schemeClr val="bg2">
                    <a:lumMod val="10000"/>
                  </a:schemeClr>
                </a:solidFill>
              </a:ln>
            </c:spPr>
          </c:marker>
          <c:cat>
            <c:strRef>
              <c:f>'est-mun'!$A$8:$A$1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E$8:$E$14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  <c:pt idx="4">
                  <c:v>232.7</c:v>
                </c:pt>
                <c:pt idx="5">
                  <c:v>245.7</c:v>
                </c:pt>
                <c:pt idx="6">
                  <c:v>270.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est-mun'!$F$7</c:f>
              <c:strCache>
                <c:ptCount val="1"/>
                <c:pt idx="0">
                  <c:v>Básica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rgbClr val="FFC000"/>
                </a:solidFill>
              </a:ln>
            </c:spPr>
          </c:marker>
          <c:cat>
            <c:strRef>
              <c:f>'est-mun'!$A$8:$A$1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F$8:$F$14</c:f>
              <c:numCache>
                <c:formatCode>General</c:formatCode>
                <c:ptCount val="7"/>
                <c:pt idx="0">
                  <c:v>160</c:v>
                </c:pt>
                <c:pt idx="1">
                  <c:v>175</c:v>
                </c:pt>
                <c:pt idx="2">
                  <c:v>200</c:v>
                </c:pt>
                <c:pt idx="3">
                  <c:v>225</c:v>
                </c:pt>
                <c:pt idx="4">
                  <c:v>230</c:v>
                </c:pt>
                <c:pt idx="5">
                  <c:v>250</c:v>
                </c:pt>
                <c:pt idx="6">
                  <c:v>2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497984"/>
        <c:axId val="93504256"/>
      </c:lineChart>
      <c:catAx>
        <c:axId val="93497984"/>
        <c:scaling>
          <c:orientation val="minMax"/>
        </c:scaling>
        <c:delete val="0"/>
        <c:axPos val="b"/>
        <c:majorTickMark val="out"/>
        <c:minorTickMark val="none"/>
        <c:tickLblPos val="nextTo"/>
        <c:crossAx val="93504256"/>
        <c:crosses val="autoZero"/>
        <c:auto val="1"/>
        <c:lblAlgn val="ctr"/>
        <c:lblOffset val="100"/>
        <c:noMultiLvlLbl val="0"/>
      </c:catAx>
      <c:valAx>
        <c:axId val="93504256"/>
        <c:scaling>
          <c:orientation val="minMax"/>
          <c:max val="400"/>
          <c:min val="12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93497984"/>
        <c:crosses val="autoZero"/>
        <c:crossBetween val="between"/>
        <c:majorUnit val="25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st-mun'!$B$121</c:f>
              <c:strCache>
                <c:ptCount val="1"/>
                <c:pt idx="0">
                  <c:v>Estado do Pará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'est-mun'!$A$122:$A$128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122:$B$128</c:f>
              <c:numCache>
                <c:formatCode>General</c:formatCode>
                <c:ptCount val="7"/>
                <c:pt idx="0">
                  <c:v>147494</c:v>
                </c:pt>
                <c:pt idx="1">
                  <c:v>158398</c:v>
                </c:pt>
                <c:pt idx="2">
                  <c:v>120827</c:v>
                </c:pt>
                <c:pt idx="3">
                  <c:v>105759</c:v>
                </c:pt>
                <c:pt idx="4">
                  <c:v>142399</c:v>
                </c:pt>
                <c:pt idx="5">
                  <c:v>104450</c:v>
                </c:pt>
                <c:pt idx="6">
                  <c:v>89801</c:v>
                </c:pt>
              </c:numCache>
            </c:numRef>
          </c:val>
        </c:ser>
        <c:ser>
          <c:idx val="1"/>
          <c:order val="1"/>
          <c:tx>
            <c:strRef>
              <c:f>'est-mun'!$C$121</c:f>
              <c:strCache>
                <c:ptCount val="1"/>
                <c:pt idx="0">
                  <c:v>Rede Estadual</c:v>
                </c:pt>
              </c:strCache>
            </c:strRef>
          </c:tx>
          <c:invertIfNegative val="0"/>
          <c:cat>
            <c:strRef>
              <c:f>'est-mun'!$A$122:$A$128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122:$C$128</c:f>
              <c:numCache>
                <c:formatCode>General</c:formatCode>
                <c:ptCount val="7"/>
                <c:pt idx="0">
                  <c:v>14825</c:v>
                </c:pt>
                <c:pt idx="1">
                  <c:v>29530</c:v>
                </c:pt>
                <c:pt idx="2">
                  <c:v>35573</c:v>
                </c:pt>
                <c:pt idx="3">
                  <c:v>35390</c:v>
                </c:pt>
                <c:pt idx="4">
                  <c:v>142129</c:v>
                </c:pt>
                <c:pt idx="5">
                  <c:v>104328</c:v>
                </c:pt>
                <c:pt idx="6">
                  <c:v>89707</c:v>
                </c:pt>
              </c:numCache>
            </c:numRef>
          </c:val>
        </c:ser>
        <c:ser>
          <c:idx val="2"/>
          <c:order val="2"/>
          <c:tx>
            <c:strRef>
              <c:f>'est-mun'!$D$121</c:f>
              <c:strCache>
                <c:ptCount val="1"/>
                <c:pt idx="0">
                  <c:v>Redes Municipais</c:v>
                </c:pt>
              </c:strCache>
            </c:strRef>
          </c:tx>
          <c:invertIfNegative val="0"/>
          <c:cat>
            <c:strRef>
              <c:f>'est-mun'!$A$122:$A$128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122:$D$128</c:f>
              <c:numCache>
                <c:formatCode>General</c:formatCode>
                <c:ptCount val="7"/>
                <c:pt idx="0">
                  <c:v>132669</c:v>
                </c:pt>
                <c:pt idx="1">
                  <c:v>128868</c:v>
                </c:pt>
                <c:pt idx="2">
                  <c:v>85254</c:v>
                </c:pt>
                <c:pt idx="3">
                  <c:v>70369</c:v>
                </c:pt>
                <c:pt idx="4">
                  <c:v>270</c:v>
                </c:pt>
                <c:pt idx="5">
                  <c:v>122</c:v>
                </c:pt>
                <c:pt idx="6">
                  <c:v>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948928"/>
        <c:axId val="109950464"/>
      </c:barChart>
      <c:catAx>
        <c:axId val="109948928"/>
        <c:scaling>
          <c:orientation val="minMax"/>
        </c:scaling>
        <c:delete val="0"/>
        <c:axPos val="b"/>
        <c:majorTickMark val="out"/>
        <c:minorTickMark val="none"/>
        <c:tickLblPos val="nextTo"/>
        <c:crossAx val="109950464"/>
        <c:crosses val="autoZero"/>
        <c:auto val="1"/>
        <c:lblAlgn val="ctr"/>
        <c:lblOffset val="100"/>
        <c:noMultiLvlLbl val="0"/>
      </c:catAx>
      <c:valAx>
        <c:axId val="1099504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994892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843574263144437E-2"/>
          <c:y val="2.0615529237519078E-2"/>
          <c:w val="0.93615642573685465"/>
          <c:h val="0.79650710126804847"/>
        </c:manualLayout>
      </c:layout>
      <c:lineChart>
        <c:grouping val="standard"/>
        <c:varyColors val="0"/>
        <c:ser>
          <c:idx val="0"/>
          <c:order val="0"/>
          <c:tx>
            <c:strRef>
              <c:f>'est-mun'!$B$57</c:f>
              <c:strCache>
                <c:ptCount val="1"/>
                <c:pt idx="0">
                  <c:v>Adequada</c:v>
                </c:pt>
              </c:strCache>
            </c:strRef>
          </c:tx>
          <c:spPr>
            <a:ln>
              <a:solidFill>
                <a:srgbClr val="2CAE2F"/>
              </a:solidFill>
            </a:ln>
          </c:spPr>
          <c:marker>
            <c:spPr>
              <a:solidFill>
                <a:srgbClr val="2CAE2F"/>
              </a:solidFill>
              <a:ln>
                <a:solidFill>
                  <a:srgbClr val="2CAE2F"/>
                </a:solidFill>
              </a:ln>
            </c:spPr>
          </c:marker>
          <c:cat>
            <c:strRef>
              <c:f>'est-mun'!$A$58:$A$6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58:$B$64</c:f>
              <c:numCache>
                <c:formatCode>General</c:formatCode>
                <c:ptCount val="7"/>
                <c:pt idx="0">
                  <c:v>185</c:v>
                </c:pt>
                <c:pt idx="1">
                  <c:v>200</c:v>
                </c:pt>
                <c:pt idx="2">
                  <c:v>225</c:v>
                </c:pt>
                <c:pt idx="3">
                  <c:v>275</c:v>
                </c:pt>
                <c:pt idx="4">
                  <c:v>280</c:v>
                </c:pt>
                <c:pt idx="5">
                  <c:v>285</c:v>
                </c:pt>
                <c:pt idx="6">
                  <c:v>3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est-mun'!$C$57</c:f>
              <c:strCache>
                <c:ptCount val="1"/>
                <c:pt idx="0">
                  <c:v>Estado do Pará</c:v>
                </c:pt>
              </c:strCache>
            </c:strRef>
          </c:tx>
          <c:spPr>
            <a:ln>
              <a:solidFill>
                <a:schemeClr val="bg2">
                  <a:lumMod val="10000"/>
                </a:schemeClr>
              </a:solidFill>
            </a:ln>
          </c:spPr>
          <c:marker>
            <c:spPr>
              <a:solidFill>
                <a:schemeClr val="bg2">
                  <a:lumMod val="10000"/>
                </a:schemeClr>
              </a:solidFill>
              <a:ln>
                <a:solidFill>
                  <a:schemeClr val="bg2">
                    <a:lumMod val="10000"/>
                  </a:schemeClr>
                </a:solidFill>
              </a:ln>
            </c:spPr>
          </c:marker>
          <c:cat>
            <c:strRef>
              <c:f>'est-mun'!$A$58:$A$6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58:$C$64</c:f>
              <c:numCache>
                <c:formatCode>0.0</c:formatCode>
                <c:ptCount val="7"/>
                <c:pt idx="0">
                  <c:v>135.19999999999999</c:v>
                </c:pt>
                <c:pt idx="1">
                  <c:v>158</c:v>
                </c:pt>
                <c:pt idx="2">
                  <c:v>188</c:v>
                </c:pt>
                <c:pt idx="3">
                  <c:v>204.5</c:v>
                </c:pt>
                <c:pt idx="4">
                  <c:v>213</c:v>
                </c:pt>
                <c:pt idx="5">
                  <c:v>222.8</c:v>
                </c:pt>
                <c:pt idx="6">
                  <c:v>227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est-mun'!$D$57</c:f>
              <c:strCache>
                <c:ptCount val="1"/>
                <c:pt idx="0">
                  <c:v>Urbano</c:v>
                </c:pt>
              </c:strCache>
            </c:strRef>
          </c:tx>
          <c:cat>
            <c:strRef>
              <c:f>'est-mun'!$A$58:$A$6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58:$D$64</c:f>
              <c:numCache>
                <c:formatCode>0.0</c:formatCode>
                <c:ptCount val="7"/>
                <c:pt idx="0">
                  <c:v>139.5</c:v>
                </c:pt>
                <c:pt idx="1">
                  <c:v>162.9</c:v>
                </c:pt>
                <c:pt idx="2">
                  <c:v>190.4</c:v>
                </c:pt>
                <c:pt idx="3">
                  <c:v>206.1</c:v>
                </c:pt>
                <c:pt idx="4">
                  <c:v>213.2</c:v>
                </c:pt>
                <c:pt idx="5">
                  <c:v>223</c:v>
                </c:pt>
                <c:pt idx="6">
                  <c:v>222.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est-mun'!$E$57</c:f>
              <c:strCache>
                <c:ptCount val="1"/>
                <c:pt idx="0">
                  <c:v>Rural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70C0"/>
              </a:solidFill>
              <a:ln>
                <a:solidFill>
                  <a:srgbClr val="0070C0"/>
                </a:solidFill>
              </a:ln>
            </c:spPr>
          </c:marker>
          <c:cat>
            <c:strRef>
              <c:f>'est-mun'!$A$58:$A$6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E$58:$E$64</c:f>
              <c:numCache>
                <c:formatCode>General</c:formatCode>
                <c:ptCount val="7"/>
                <c:pt idx="0">
                  <c:v>123</c:v>
                </c:pt>
                <c:pt idx="1">
                  <c:v>143.80000000000001</c:v>
                </c:pt>
                <c:pt idx="2">
                  <c:v>181.7</c:v>
                </c:pt>
                <c:pt idx="3">
                  <c:v>199.9</c:v>
                </c:pt>
                <c:pt idx="4">
                  <c:v>210.7</c:v>
                </c:pt>
                <c:pt idx="5">
                  <c:v>220.1</c:v>
                </c:pt>
                <c:pt idx="6">
                  <c:v>22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est-mun'!$F$57</c:f>
              <c:strCache>
                <c:ptCount val="1"/>
                <c:pt idx="0">
                  <c:v>Básica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c:spPr>
          </c:marker>
          <c:cat>
            <c:strRef>
              <c:f>'est-mun'!$A$58:$A$64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F$58:$F$64</c:f>
              <c:numCache>
                <c:formatCode>General</c:formatCode>
                <c:ptCount val="7"/>
                <c:pt idx="0">
                  <c:v>135</c:v>
                </c:pt>
                <c:pt idx="1">
                  <c:v>150</c:v>
                </c:pt>
                <c:pt idx="2">
                  <c:v>175</c:v>
                </c:pt>
                <c:pt idx="3">
                  <c:v>200</c:v>
                </c:pt>
                <c:pt idx="4">
                  <c:v>215</c:v>
                </c:pt>
                <c:pt idx="5">
                  <c:v>230</c:v>
                </c:pt>
                <c:pt idx="6">
                  <c:v>2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592768"/>
        <c:axId val="110594688"/>
      </c:lineChart>
      <c:catAx>
        <c:axId val="110592768"/>
        <c:scaling>
          <c:orientation val="minMax"/>
        </c:scaling>
        <c:delete val="0"/>
        <c:axPos val="b"/>
        <c:majorTickMark val="out"/>
        <c:minorTickMark val="none"/>
        <c:tickLblPos val="nextTo"/>
        <c:crossAx val="110594688"/>
        <c:crosses val="autoZero"/>
        <c:auto val="1"/>
        <c:lblAlgn val="ctr"/>
        <c:lblOffset val="100"/>
        <c:noMultiLvlLbl val="0"/>
      </c:catAx>
      <c:valAx>
        <c:axId val="110594688"/>
        <c:scaling>
          <c:orientation val="minMax"/>
          <c:max val="350"/>
          <c:min val="125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0592768"/>
        <c:crosses val="autoZero"/>
        <c:crossBetween val="between"/>
        <c:majorUnit val="25"/>
      </c:valAx>
      <c:spPr>
        <a:ln>
          <a:solidFill>
            <a:schemeClr val="accent2"/>
          </a:solidFill>
        </a:ln>
      </c:spPr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st-mun'!$B$84</c:f>
              <c:strCache>
                <c:ptCount val="1"/>
                <c:pt idx="0">
                  <c:v>Adequada</c:v>
                </c:pt>
              </c:strCache>
            </c:strRef>
          </c:tx>
          <c:spPr>
            <a:ln>
              <a:solidFill>
                <a:srgbClr val="2CAE2F"/>
              </a:solidFill>
            </a:ln>
          </c:spPr>
          <c:marker>
            <c:spPr>
              <a:solidFill>
                <a:srgbClr val="2CAE2F"/>
              </a:solidFill>
              <a:ln>
                <a:solidFill>
                  <a:srgbClr val="2CAE2F"/>
                </a:solidFill>
              </a:ln>
            </c:spPr>
          </c:marker>
          <c:cat>
            <c:strRef>
              <c:f>'est-mun'!$A$85:$A$9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85:$B$91</c:f>
              <c:numCache>
                <c:formatCode>General</c:formatCode>
                <c:ptCount val="7"/>
                <c:pt idx="0">
                  <c:v>210</c:v>
                </c:pt>
                <c:pt idx="1">
                  <c:v>225</c:v>
                </c:pt>
                <c:pt idx="2">
                  <c:v>250</c:v>
                </c:pt>
                <c:pt idx="3">
                  <c:v>300</c:v>
                </c:pt>
                <c:pt idx="4">
                  <c:v>305</c:v>
                </c:pt>
                <c:pt idx="5">
                  <c:v>325</c:v>
                </c:pt>
                <c:pt idx="6">
                  <c:v>35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est-mun'!$C$84</c:f>
              <c:strCache>
                <c:ptCount val="1"/>
                <c:pt idx="0">
                  <c:v>Estado do Pará</c:v>
                </c:pt>
              </c:strCache>
            </c:strRef>
          </c:tx>
          <c:spPr>
            <a:ln>
              <a:solidFill>
                <a:schemeClr val="bg2">
                  <a:lumMod val="10000"/>
                </a:schemeClr>
              </a:solidFill>
            </a:ln>
          </c:spPr>
          <c:marker>
            <c:spPr>
              <a:solidFill>
                <a:schemeClr val="bg2">
                  <a:lumMod val="10000"/>
                </a:schemeClr>
              </a:solidFill>
              <a:ln>
                <a:solidFill>
                  <a:schemeClr val="bg2">
                    <a:lumMod val="10000"/>
                  </a:schemeClr>
                </a:solidFill>
              </a:ln>
            </c:spPr>
          </c:marker>
          <c:cat>
            <c:strRef>
              <c:f>'est-mun'!$A$85:$A$9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85:$C$91</c:f>
              <c:numCache>
                <c:formatCode>General</c:formatCode>
                <c:ptCount val="7"/>
                <c:pt idx="0">
                  <c:v>143.4</c:v>
                </c:pt>
                <c:pt idx="1">
                  <c:v>160.30000000000001</c:v>
                </c:pt>
                <c:pt idx="2">
                  <c:v>191.9</c:v>
                </c:pt>
                <c:pt idx="3">
                  <c:v>219.6</c:v>
                </c:pt>
                <c:pt idx="4" formatCode="0.0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est-mun'!$D$84</c:f>
              <c:strCache>
                <c:ptCount val="1"/>
                <c:pt idx="0">
                  <c:v>Urbano</c:v>
                </c:pt>
              </c:strCache>
            </c:strRef>
          </c:tx>
          <c:cat>
            <c:strRef>
              <c:f>'est-mun'!$A$85:$A$9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85:$D$91</c:f>
              <c:numCache>
                <c:formatCode>General</c:formatCode>
                <c:ptCount val="7"/>
                <c:pt idx="0">
                  <c:v>145.80000000000001</c:v>
                </c:pt>
                <c:pt idx="1">
                  <c:v>163.1</c:v>
                </c:pt>
                <c:pt idx="2" formatCode="0.0">
                  <c:v>193.6</c:v>
                </c:pt>
                <c:pt idx="3">
                  <c:v>220.4</c:v>
                </c:pt>
                <c:pt idx="4" formatCode="0.0">
                  <c:v>230.2</c:v>
                </c:pt>
                <c:pt idx="5">
                  <c:v>236.1</c:v>
                </c:pt>
                <c:pt idx="6" formatCode="0.0">
                  <c:v>239.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est-mun'!$E$84</c:f>
              <c:strCache>
                <c:ptCount val="1"/>
                <c:pt idx="0">
                  <c:v>Rural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70C0"/>
              </a:solidFill>
            </c:spPr>
          </c:marker>
          <c:cat>
            <c:strRef>
              <c:f>'est-mun'!$A$85:$A$9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E$85:$E$91</c:f>
              <c:numCache>
                <c:formatCode>General</c:formatCode>
                <c:ptCount val="7"/>
                <c:pt idx="0">
                  <c:v>136.69999999999999</c:v>
                </c:pt>
                <c:pt idx="1">
                  <c:v>152.30000000000001</c:v>
                </c:pt>
                <c:pt idx="2">
                  <c:v>187.5</c:v>
                </c:pt>
                <c:pt idx="3">
                  <c:v>217.4</c:v>
                </c:pt>
                <c:pt idx="4">
                  <c:v>228.2</c:v>
                </c:pt>
                <c:pt idx="5">
                  <c:v>233.7</c:v>
                </c:pt>
                <c:pt idx="6">
                  <c:v>237.3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'est-mun'!$F$84</c:f>
              <c:strCache>
                <c:ptCount val="1"/>
                <c:pt idx="0">
                  <c:v>Básica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pPr>
              <a:solidFill>
                <a:srgbClr val="C00000"/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c:spPr>
          </c:marker>
          <c:cat>
            <c:strRef>
              <c:f>'est-mun'!$A$85:$A$9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F$85:$F$91</c:f>
              <c:numCache>
                <c:formatCode>General</c:formatCode>
                <c:ptCount val="7"/>
                <c:pt idx="0">
                  <c:v>160</c:v>
                </c:pt>
                <c:pt idx="1">
                  <c:v>175</c:v>
                </c:pt>
                <c:pt idx="2">
                  <c:v>200</c:v>
                </c:pt>
                <c:pt idx="3">
                  <c:v>225</c:v>
                </c:pt>
                <c:pt idx="4">
                  <c:v>230</c:v>
                </c:pt>
                <c:pt idx="5">
                  <c:v>250</c:v>
                </c:pt>
                <c:pt idx="6">
                  <c:v>2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0648320"/>
        <c:axId val="110658688"/>
      </c:lineChart>
      <c:catAx>
        <c:axId val="110648320"/>
        <c:scaling>
          <c:orientation val="minMax"/>
        </c:scaling>
        <c:delete val="0"/>
        <c:axPos val="b"/>
        <c:majorTickMark val="out"/>
        <c:minorTickMark val="none"/>
        <c:tickLblPos val="nextTo"/>
        <c:crossAx val="110658688"/>
        <c:crosses val="autoZero"/>
        <c:auto val="1"/>
        <c:lblAlgn val="ctr"/>
        <c:lblOffset val="100"/>
        <c:noMultiLvlLbl val="0"/>
      </c:catAx>
      <c:valAx>
        <c:axId val="1106586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064832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st-mun'!$B$134</c:f>
              <c:strCache>
                <c:ptCount val="1"/>
                <c:pt idx="0">
                  <c:v>Estado do Pará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'est-mun'!$A$135:$A$14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B$135:$B$141</c:f>
              <c:numCache>
                <c:formatCode>General</c:formatCode>
                <c:ptCount val="7"/>
                <c:pt idx="0">
                  <c:v>147494</c:v>
                </c:pt>
                <c:pt idx="1">
                  <c:v>158398</c:v>
                </c:pt>
                <c:pt idx="2">
                  <c:v>120827</c:v>
                </c:pt>
                <c:pt idx="3">
                  <c:v>105759</c:v>
                </c:pt>
                <c:pt idx="4">
                  <c:v>142399</c:v>
                </c:pt>
                <c:pt idx="5">
                  <c:v>104450</c:v>
                </c:pt>
                <c:pt idx="6">
                  <c:v>89801</c:v>
                </c:pt>
              </c:numCache>
            </c:numRef>
          </c:val>
        </c:ser>
        <c:ser>
          <c:idx val="1"/>
          <c:order val="1"/>
          <c:tx>
            <c:strRef>
              <c:f>'est-mun'!$C$134</c:f>
              <c:strCache>
                <c:ptCount val="1"/>
                <c:pt idx="0">
                  <c:v>Urbana</c:v>
                </c:pt>
              </c:strCache>
            </c:strRef>
          </c:tx>
          <c:invertIfNegative val="0"/>
          <c:cat>
            <c:strRef>
              <c:f>'est-mun'!$A$135:$A$14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C$135:$C$141</c:f>
              <c:numCache>
                <c:formatCode>General</c:formatCode>
                <c:ptCount val="7"/>
                <c:pt idx="0">
                  <c:v>105485</c:v>
                </c:pt>
                <c:pt idx="1">
                  <c:v>115723</c:v>
                </c:pt>
                <c:pt idx="2">
                  <c:v>86576</c:v>
                </c:pt>
                <c:pt idx="3">
                  <c:v>78525</c:v>
                </c:pt>
                <c:pt idx="4">
                  <c:v>131128</c:v>
                </c:pt>
                <c:pt idx="5">
                  <c:v>95771</c:v>
                </c:pt>
                <c:pt idx="6">
                  <c:v>82881</c:v>
                </c:pt>
              </c:numCache>
            </c:numRef>
          </c:val>
        </c:ser>
        <c:ser>
          <c:idx val="2"/>
          <c:order val="2"/>
          <c:tx>
            <c:strRef>
              <c:f>'est-mun'!$D$134</c:f>
              <c:strCache>
                <c:ptCount val="1"/>
                <c:pt idx="0">
                  <c:v>Rural</c:v>
                </c:pt>
              </c:strCache>
            </c:strRef>
          </c:tx>
          <c:invertIfNegative val="0"/>
          <c:cat>
            <c:strRef>
              <c:f>'est-mun'!$A$135:$A$141</c:f>
              <c:strCache>
                <c:ptCount val="7"/>
                <c:pt idx="0">
                  <c:v>4ºano EF</c:v>
                </c:pt>
                <c:pt idx="1">
                  <c:v>5ºano EF</c:v>
                </c:pt>
                <c:pt idx="2">
                  <c:v>7ªsérie EF</c:v>
                </c:pt>
                <c:pt idx="3">
                  <c:v>8ªsérie EF</c:v>
                </c:pt>
                <c:pt idx="4">
                  <c:v>1ªsérie EM</c:v>
                </c:pt>
                <c:pt idx="5">
                  <c:v>2ªsérie EM</c:v>
                </c:pt>
                <c:pt idx="6">
                  <c:v>3ªsérie EM</c:v>
                </c:pt>
              </c:strCache>
            </c:strRef>
          </c:cat>
          <c:val>
            <c:numRef>
              <c:f>'est-mun'!$D$135:$D$141</c:f>
              <c:numCache>
                <c:formatCode>General</c:formatCode>
                <c:ptCount val="7"/>
                <c:pt idx="0">
                  <c:v>42009</c:v>
                </c:pt>
                <c:pt idx="1">
                  <c:v>42675</c:v>
                </c:pt>
                <c:pt idx="2">
                  <c:v>34251</c:v>
                </c:pt>
                <c:pt idx="3">
                  <c:v>27234</c:v>
                </c:pt>
                <c:pt idx="4">
                  <c:v>11271</c:v>
                </c:pt>
                <c:pt idx="5">
                  <c:v>8679</c:v>
                </c:pt>
                <c:pt idx="6">
                  <c:v>69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0395776"/>
        <c:axId val="110397312"/>
      </c:barChart>
      <c:catAx>
        <c:axId val="110395776"/>
        <c:scaling>
          <c:orientation val="minMax"/>
        </c:scaling>
        <c:delete val="0"/>
        <c:axPos val="b"/>
        <c:majorTickMark val="out"/>
        <c:minorTickMark val="none"/>
        <c:tickLblPos val="nextTo"/>
        <c:crossAx val="110397312"/>
        <c:crosses val="autoZero"/>
        <c:auto val="1"/>
        <c:lblAlgn val="ctr"/>
        <c:lblOffset val="100"/>
        <c:noMultiLvlLbl val="0"/>
      </c:catAx>
      <c:valAx>
        <c:axId val="1103973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03957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7156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71564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7156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7156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4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560323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86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338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705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08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chart" Target="../charts/chart1.xml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image" Target="../media/image9.emf"/><Relationship Id="rId7" Type="http://schemas.openxmlformats.org/officeDocument/2006/relationships/image" Target="../media/image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gi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chart" Target="../charts/chart3.xml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7.gi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7.gi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9.emf"/><Relationship Id="rId7" Type="http://schemas.openxmlformats.org/officeDocument/2006/relationships/image" Target="../media/image7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9.emf"/><Relationship Id="rId7" Type="http://schemas.openxmlformats.org/officeDocument/2006/relationships/image" Target="../media/image7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image" Target="../media/image9.emf"/><Relationship Id="rId7" Type="http://schemas.openxmlformats.org/officeDocument/2006/relationships/image" Target="../media/image7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emf"/><Relationship Id="rId5" Type="http://schemas.openxmlformats.org/officeDocument/2006/relationships/image" Target="../media/image7.gif"/><Relationship Id="rId4" Type="http://schemas.openxmlformats.org/officeDocument/2006/relationships/image" Target="../media/image6.png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67545" y="1124744"/>
            <a:ext cx="8280919" cy="3888432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b="1" dirty="0" smtClean="0">
                <a:solidFill>
                  <a:schemeClr val="tx1"/>
                </a:solidFill>
              </a:rPr>
              <a:t/>
            </a:r>
            <a:br>
              <a:rPr lang="pt-BR" b="1" dirty="0" smtClean="0">
                <a:solidFill>
                  <a:schemeClr val="tx1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b="1" dirty="0" smtClean="0">
                <a:solidFill>
                  <a:schemeClr val="tx1"/>
                </a:solidFill>
              </a:rPr>
              <a:t/>
            </a:r>
            <a:br>
              <a:rPr lang="pt-BR" b="1" dirty="0" smtClean="0">
                <a:solidFill>
                  <a:schemeClr val="tx1"/>
                </a:solidFill>
              </a:rPr>
            </a:br>
            <a:r>
              <a:rPr lang="pt-BR" sz="6700" b="1" dirty="0" smtClean="0">
                <a:solidFill>
                  <a:srgbClr val="00B050"/>
                </a:solidFill>
              </a:rPr>
              <a:t>Resultados Regionais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lém 3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8" name="Picture 15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36" y="548680"/>
            <a:ext cx="8283428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521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270892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valiação é um chapéu de muitas pontas.</a:t>
            </a:r>
            <a:br>
              <a:rPr lang="pt-BR" dirty="0" smtClean="0"/>
            </a:b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3661655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270892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rgbClr val="FF0000"/>
                </a:solidFill>
              </a:rPr>
              <a:t/>
            </a:r>
            <a:br>
              <a:rPr lang="pt-BR" b="1" dirty="0" smtClean="0">
                <a:solidFill>
                  <a:srgbClr val="FF0000"/>
                </a:solidFill>
              </a:rPr>
            </a:br>
            <a:r>
              <a:rPr lang="pt-BR" b="1" dirty="0">
                <a:solidFill>
                  <a:srgbClr val="FF0000"/>
                </a:solidFill>
              </a:rPr>
              <a:t/>
            </a:r>
            <a:br>
              <a:rPr lang="pt-BR" b="1" dirty="0">
                <a:solidFill>
                  <a:srgbClr val="FF0000"/>
                </a:solidFill>
              </a:rPr>
            </a:br>
            <a:r>
              <a:rPr lang="pt-BR" b="1" dirty="0" smtClean="0">
                <a:solidFill>
                  <a:srgbClr val="FF0000"/>
                </a:solidFill>
              </a:rPr>
              <a:t/>
            </a:r>
            <a:br>
              <a:rPr lang="pt-BR" b="1" dirty="0" smtClean="0">
                <a:solidFill>
                  <a:srgbClr val="FF0000"/>
                </a:solidFill>
              </a:rPr>
            </a:br>
            <a:r>
              <a:rPr lang="pt-BR" b="1" dirty="0" smtClean="0">
                <a:solidFill>
                  <a:srgbClr val="FF0000"/>
                </a:solidFill>
              </a:rPr>
              <a:t>Obrigado !</a:t>
            </a:r>
            <a:br>
              <a:rPr lang="pt-BR" b="1" dirty="0" smtClean="0">
                <a:solidFill>
                  <a:srgbClr val="FF0000"/>
                </a:solidFill>
              </a:rPr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sz="2700" b="1" dirty="0">
                <a:solidFill>
                  <a:srgbClr val="002060"/>
                </a:solidFill>
              </a:rPr>
              <a:t>G</a:t>
            </a:r>
            <a:r>
              <a:rPr lang="pt-BR" sz="2700" b="1" dirty="0" smtClean="0">
                <a:solidFill>
                  <a:srgbClr val="002060"/>
                </a:solidFill>
              </a:rPr>
              <a:t>uaracy Tadeu Rocha</a:t>
            </a:r>
            <a:br>
              <a:rPr lang="pt-BR" sz="2700" b="1" dirty="0" smtClean="0">
                <a:solidFill>
                  <a:srgbClr val="002060"/>
                </a:solidFill>
              </a:rPr>
            </a:br>
            <a:r>
              <a:rPr lang="pt-BR" sz="2200" b="1" dirty="0" smtClean="0">
                <a:solidFill>
                  <a:srgbClr val="002060"/>
                </a:solidFill>
              </a:rPr>
              <a:t>diretoria_academica@vunesp.com.br</a:t>
            </a:r>
            <a:endParaRPr lang="pt-BR" sz="2200" b="1" dirty="0">
              <a:solidFill>
                <a:srgbClr val="002060"/>
              </a:solidFill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1" name="Picture 15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2924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9896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419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316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214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112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009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277936"/>
              </p:ext>
            </p:extLst>
          </p:nvPr>
        </p:nvGraphicFramePr>
        <p:xfrm>
          <a:off x="755578" y="817113"/>
          <a:ext cx="6984774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7900"/>
                <a:gridCol w="856707"/>
                <a:gridCol w="856707"/>
                <a:gridCol w="1162674"/>
                <a:gridCol w="587456"/>
                <a:gridCol w="587456"/>
                <a:gridCol w="587456"/>
                <a:gridCol w="685085"/>
                <a:gridCol w="743333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8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4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0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8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6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82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451800"/>
              </p:ext>
            </p:extLst>
          </p:nvPr>
        </p:nvGraphicFramePr>
        <p:xfrm>
          <a:off x="755578" y="817113"/>
          <a:ext cx="6984774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7900"/>
                <a:gridCol w="856707"/>
                <a:gridCol w="856707"/>
                <a:gridCol w="1162674"/>
                <a:gridCol w="587456"/>
                <a:gridCol w="587456"/>
                <a:gridCol w="587456"/>
                <a:gridCol w="685085"/>
                <a:gridCol w="743333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9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56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8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6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3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8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7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36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0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9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221356"/>
              </p:ext>
            </p:extLst>
          </p:nvPr>
        </p:nvGraphicFramePr>
        <p:xfrm>
          <a:off x="755578" y="817113"/>
          <a:ext cx="6984774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7900"/>
                <a:gridCol w="856707"/>
                <a:gridCol w="856707"/>
                <a:gridCol w="1162674"/>
                <a:gridCol w="587456"/>
                <a:gridCol w="587456"/>
                <a:gridCol w="587456"/>
                <a:gridCol w="685085"/>
                <a:gridCol w="743333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10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5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2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22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1544357"/>
              </p:ext>
            </p:extLst>
          </p:nvPr>
        </p:nvGraphicFramePr>
        <p:xfrm>
          <a:off x="683568" y="817113"/>
          <a:ext cx="7056784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7363"/>
                <a:gridCol w="865539"/>
                <a:gridCol w="865539"/>
                <a:gridCol w="1174660"/>
                <a:gridCol w="593513"/>
                <a:gridCol w="593513"/>
                <a:gridCol w="593513"/>
                <a:gridCol w="692148"/>
                <a:gridCol w="750996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11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4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9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8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0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3" name="CaixaDeTexto 12"/>
          <p:cNvSpPr txBox="1"/>
          <p:nvPr/>
        </p:nvSpPr>
        <p:spPr>
          <a:xfrm>
            <a:off x="1187624" y="404664"/>
            <a:ext cx="604867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2060"/>
                </a:solidFill>
              </a:rPr>
              <a:t>DEPÊNDENCIA ADMINISTRATIVA: Estadual x Municipal</a:t>
            </a:r>
          </a:p>
          <a:p>
            <a:pPr algn="ctr"/>
            <a:r>
              <a:rPr lang="pt-BR" dirty="0" smtClean="0">
                <a:solidFill>
                  <a:srgbClr val="002060"/>
                </a:solidFill>
              </a:rPr>
              <a:t>Média de Proficiência em Língua Portuguesa</a:t>
            </a:r>
            <a:endParaRPr lang="pt-BR" dirty="0">
              <a:solidFill>
                <a:srgbClr val="002060"/>
              </a:solidFill>
            </a:endParaRP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460466"/>
              </p:ext>
            </p:extLst>
          </p:nvPr>
        </p:nvGraphicFramePr>
        <p:xfrm>
          <a:off x="324480" y="1479866"/>
          <a:ext cx="8351976" cy="3859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09909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595283"/>
              </p:ext>
            </p:extLst>
          </p:nvPr>
        </p:nvGraphicFramePr>
        <p:xfrm>
          <a:off x="974070" y="817113"/>
          <a:ext cx="6766282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9187"/>
                <a:gridCol w="829908"/>
                <a:gridCol w="829908"/>
                <a:gridCol w="1126304"/>
                <a:gridCol w="569080"/>
                <a:gridCol w="569080"/>
                <a:gridCol w="440647"/>
                <a:gridCol w="792088"/>
                <a:gridCol w="720080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12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5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9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53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8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473254"/>
              </p:ext>
            </p:extLst>
          </p:nvPr>
        </p:nvGraphicFramePr>
        <p:xfrm>
          <a:off x="974070" y="817113"/>
          <a:ext cx="6766282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9187"/>
                <a:gridCol w="829908"/>
                <a:gridCol w="829908"/>
                <a:gridCol w="1126304"/>
                <a:gridCol w="569080"/>
                <a:gridCol w="569080"/>
                <a:gridCol w="440647"/>
                <a:gridCol w="792088"/>
                <a:gridCol w="720080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USE 13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29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2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5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87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9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7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6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419" y="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7641781"/>
              </p:ext>
            </p:extLst>
          </p:nvPr>
        </p:nvGraphicFramePr>
        <p:xfrm>
          <a:off x="974070" y="817113"/>
          <a:ext cx="6766282" cy="4788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9187"/>
                <a:gridCol w="829908"/>
                <a:gridCol w="829908"/>
                <a:gridCol w="1126304"/>
                <a:gridCol w="569080"/>
                <a:gridCol w="569080"/>
                <a:gridCol w="440647"/>
                <a:gridCol w="792088"/>
                <a:gridCol w="720080"/>
              </a:tblGrid>
              <a:tr h="17783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Média de </a:t>
                      </a:r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33512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3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18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5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9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8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53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5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86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501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2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3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31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8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6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3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048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3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22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936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4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27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020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8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,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</a:tr>
              <a:tr h="177837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,9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0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4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783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aixo do Básico</a:t>
                      </a:r>
                      <a:endParaRPr lang="pt-BR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00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86729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anindeu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4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5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2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9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4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9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6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1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6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58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5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7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ªsérie </a:t>
                      </a:r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7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9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8672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6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9562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892" marR="8892" marT="889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30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1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3" name="Retângulo 12"/>
          <p:cNvSpPr/>
          <p:nvPr/>
        </p:nvSpPr>
        <p:spPr>
          <a:xfrm>
            <a:off x="971600" y="209476"/>
            <a:ext cx="19426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Língua Portugues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8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088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985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883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809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78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6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47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1202858"/>
              </p:ext>
            </p:extLst>
          </p:nvPr>
        </p:nvGraphicFramePr>
        <p:xfrm>
          <a:off x="466064" y="1412776"/>
          <a:ext cx="8210391" cy="3720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CaixaDeTexto 12"/>
          <p:cNvSpPr txBox="1"/>
          <p:nvPr/>
        </p:nvSpPr>
        <p:spPr>
          <a:xfrm>
            <a:off x="1328862" y="404664"/>
            <a:ext cx="590743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2060"/>
                </a:solidFill>
              </a:rPr>
              <a:t>DEPÊNDENCIA ADMINISTRATIVA: Estadual x Municipal</a:t>
            </a:r>
          </a:p>
          <a:p>
            <a:pPr algn="ctr"/>
            <a:r>
              <a:rPr lang="pt-BR" dirty="0" smtClean="0">
                <a:solidFill>
                  <a:srgbClr val="002060"/>
                </a:solidFill>
              </a:rPr>
              <a:t>Média de Proficiência em Matemática</a:t>
            </a:r>
            <a:endParaRPr lang="pt-BR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7371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Matemática 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371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188" y="1573213"/>
            <a:ext cx="7413625" cy="371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75242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13342"/>
            <a:ext cx="827534" cy="92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234195"/>
              </p:ext>
            </p:extLst>
          </p:nvPr>
        </p:nvGraphicFramePr>
        <p:xfrm>
          <a:off x="137454" y="725654"/>
          <a:ext cx="7962937" cy="4905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0299"/>
                <a:gridCol w="1023797"/>
                <a:gridCol w="1009575"/>
                <a:gridCol w="1336621"/>
                <a:gridCol w="682529"/>
                <a:gridCol w="682529"/>
                <a:gridCol w="682529"/>
                <a:gridCol w="682529"/>
                <a:gridCol w="682529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8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5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2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8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2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8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8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212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1502401"/>
              </p:ext>
            </p:extLst>
          </p:nvPr>
        </p:nvGraphicFramePr>
        <p:xfrm>
          <a:off x="137454" y="725654"/>
          <a:ext cx="8034945" cy="4905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90972"/>
                <a:gridCol w="1033055"/>
                <a:gridCol w="1018705"/>
                <a:gridCol w="1348708"/>
                <a:gridCol w="688701"/>
                <a:gridCol w="688701"/>
                <a:gridCol w="688701"/>
                <a:gridCol w="688701"/>
                <a:gridCol w="688701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9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5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7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8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7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3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7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7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0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9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0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0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7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0148" y="13343"/>
            <a:ext cx="737777" cy="823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13342"/>
            <a:ext cx="683518" cy="762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6138687"/>
              </p:ext>
            </p:extLst>
          </p:nvPr>
        </p:nvGraphicFramePr>
        <p:xfrm>
          <a:off x="323530" y="725654"/>
          <a:ext cx="7920877" cy="4905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4065"/>
                <a:gridCol w="1018389"/>
                <a:gridCol w="1004242"/>
                <a:gridCol w="1329561"/>
                <a:gridCol w="678924"/>
                <a:gridCol w="678924"/>
                <a:gridCol w="678924"/>
                <a:gridCol w="678924"/>
                <a:gridCol w="678924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10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5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8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6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3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4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7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7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9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8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5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3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2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626" y="13343"/>
            <a:ext cx="802300" cy="895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610373"/>
              </p:ext>
            </p:extLst>
          </p:nvPr>
        </p:nvGraphicFramePr>
        <p:xfrm>
          <a:off x="323530" y="725654"/>
          <a:ext cx="7776861" cy="4905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52718"/>
                <a:gridCol w="999873"/>
                <a:gridCol w="985983"/>
                <a:gridCol w="1305387"/>
                <a:gridCol w="666580"/>
                <a:gridCol w="666580"/>
                <a:gridCol w="559581"/>
                <a:gridCol w="773579"/>
                <a:gridCol w="666580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11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44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8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8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9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9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9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9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6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6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13342"/>
            <a:ext cx="683518" cy="762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642781"/>
              </p:ext>
            </p:extLst>
          </p:nvPr>
        </p:nvGraphicFramePr>
        <p:xfrm>
          <a:off x="323530" y="761860"/>
          <a:ext cx="8064893" cy="49051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95411"/>
                <a:gridCol w="1036905"/>
                <a:gridCol w="1022502"/>
                <a:gridCol w="1353735"/>
                <a:gridCol w="691268"/>
                <a:gridCol w="691268"/>
                <a:gridCol w="691268"/>
                <a:gridCol w="691268"/>
                <a:gridCol w="691268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12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52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6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66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1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5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5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8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7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9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8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5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55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0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6563" y="107296"/>
            <a:ext cx="737778" cy="823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873670"/>
              </p:ext>
            </p:extLst>
          </p:nvPr>
        </p:nvGraphicFramePr>
        <p:xfrm>
          <a:off x="323530" y="725654"/>
          <a:ext cx="7992885" cy="4964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4738"/>
                <a:gridCol w="1027647"/>
                <a:gridCol w="1013372"/>
                <a:gridCol w="1341648"/>
                <a:gridCol w="685096"/>
                <a:gridCol w="685096"/>
                <a:gridCol w="685096"/>
                <a:gridCol w="685096"/>
                <a:gridCol w="685096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25141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E 13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13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7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56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0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90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9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6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2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4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6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37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7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38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21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8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1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6563" y="107296"/>
            <a:ext cx="737778" cy="823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upo 3"/>
          <p:cNvGrpSpPr/>
          <p:nvPr/>
        </p:nvGrpSpPr>
        <p:grpSpPr>
          <a:xfrm>
            <a:off x="137452" y="5589304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0" name="Tabe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873670"/>
              </p:ext>
            </p:extLst>
          </p:nvPr>
        </p:nvGraphicFramePr>
        <p:xfrm>
          <a:off x="323530" y="725654"/>
          <a:ext cx="7992885" cy="49649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4738"/>
                <a:gridCol w="1027647"/>
                <a:gridCol w="1013372"/>
                <a:gridCol w="1341648"/>
                <a:gridCol w="685096"/>
                <a:gridCol w="685096"/>
                <a:gridCol w="685096"/>
                <a:gridCol w="685096"/>
                <a:gridCol w="685096"/>
              </a:tblGrid>
              <a:tr h="34815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Rede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Etapa de Escolaridade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Média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adrão de Desempenho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Nº de registros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% de alunos por Nível de Proficiência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2226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dequ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>
                          <a:solidFill>
                            <a:schemeClr val="tx1"/>
                          </a:solidFill>
                          <a:effectLst/>
                        </a:rPr>
                        <a:t>Avançado</a:t>
                      </a:r>
                      <a:endParaRPr lang="pt-BR" sz="1200" b="1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Estadual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48,1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149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6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8,6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0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6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563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9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7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3,4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7ª série EF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90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499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61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9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7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17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4289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9,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,0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3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8038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7,8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40,7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1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5,9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58823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68,5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0,3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1,2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251417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3ªsérie EM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239,4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Abaixo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>
                          <a:solidFill>
                            <a:schemeClr val="tx1"/>
                          </a:solidFill>
                          <a:effectLst/>
                        </a:rPr>
                        <a:t>58845</a:t>
                      </a:r>
                      <a:endParaRPr lang="pt-BR" sz="1200" b="0" i="0" u="none" strike="noStrike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82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7,2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8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0,0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LÉM</a:t>
                      </a:r>
                      <a:r>
                        <a:rPr lang="pt-BR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9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5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64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43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4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4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9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27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21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3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3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018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4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5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0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4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9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7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pt-B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anindeua</a:t>
                      </a:r>
                      <a:endParaRPr lang="pt-BR" sz="12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76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5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9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3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º ano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5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3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3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1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ª 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5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9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6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ªsérie EF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5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ª 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33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9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4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3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2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8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7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5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b"/>
                </a:tc>
              </a:tr>
              <a:tr h="1740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ªsérie EM</a:t>
                      </a:r>
                      <a:endParaRPr lang="pt-BR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baixo</a:t>
                      </a:r>
                      <a:r>
                        <a:rPr lang="pt-B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o Básico</a:t>
                      </a:r>
                      <a:endParaRPr lang="pt-BR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704" marR="8704" marT="8704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9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,1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1" name="CaixaDeTexto 10"/>
          <p:cNvSpPr txBox="1"/>
          <p:nvPr/>
        </p:nvSpPr>
        <p:spPr>
          <a:xfrm>
            <a:off x="467544" y="116632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3568" y="116632"/>
            <a:ext cx="1462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rgbClr val="002060"/>
                </a:solidFill>
              </a:rPr>
              <a:t>Matemática</a:t>
            </a:r>
            <a:endParaRPr lang="pt-BR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12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5123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1124744"/>
            <a:ext cx="8280919" cy="2976331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b="1" dirty="0" smtClean="0">
                <a:solidFill>
                  <a:schemeClr val="tx1"/>
                </a:solidFill>
              </a:rPr>
              <a:t/>
            </a:r>
            <a:br>
              <a:rPr lang="pt-BR" b="1" dirty="0" smtClean="0">
                <a:solidFill>
                  <a:schemeClr val="tx1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b="1" dirty="0" smtClean="0">
                <a:solidFill>
                  <a:schemeClr val="tx1"/>
                </a:solidFill>
              </a:rPr>
              <a:t/>
            </a:r>
            <a:br>
              <a:rPr lang="pt-BR" b="1" dirty="0" smtClean="0">
                <a:solidFill>
                  <a:schemeClr val="tx1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b="1" dirty="0" smtClean="0">
                <a:solidFill>
                  <a:schemeClr val="tx1"/>
                </a:solidFill>
              </a:rPr>
              <a:t/>
            </a:r>
            <a:br>
              <a:rPr lang="pt-BR" b="1" dirty="0" smtClean="0">
                <a:solidFill>
                  <a:schemeClr val="tx1"/>
                </a:solidFill>
              </a:rPr>
            </a:br>
            <a:r>
              <a:rPr lang="pt-BR" b="1" dirty="0">
                <a:solidFill>
                  <a:schemeClr val="tx1"/>
                </a:solidFill>
              </a:rPr>
              <a:t/>
            </a:r>
            <a:br>
              <a:rPr lang="pt-BR" b="1" dirty="0">
                <a:solidFill>
                  <a:schemeClr val="tx1"/>
                </a:solidFill>
              </a:rPr>
            </a:br>
            <a:r>
              <a:rPr lang="pt-BR" sz="3600" b="1" dirty="0" smtClean="0">
                <a:solidFill>
                  <a:srgbClr val="00B050"/>
                </a:solidFill>
              </a:rPr>
              <a:t>Fatores </a:t>
            </a:r>
            <a:r>
              <a:rPr lang="pt-BR" sz="3600" b="1" dirty="0">
                <a:solidFill>
                  <a:srgbClr val="00B050"/>
                </a:solidFill>
              </a:rPr>
              <a:t>Associados ao Desempenho Escolar</a:t>
            </a:r>
            <a:r>
              <a:rPr lang="pt-BR" sz="3600" dirty="0" smtClean="0">
                <a:solidFill>
                  <a:srgbClr val="C00000"/>
                </a:solidFill>
              </a:rPr>
              <a:t/>
            </a:r>
            <a:br>
              <a:rPr lang="pt-BR" sz="3600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lém 3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8" name="Picture 156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020" y="548680"/>
            <a:ext cx="8283428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2854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44629" y="609042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Objetivos</a:t>
            </a:r>
            <a:endParaRPr lang="pt-BR" sz="3600" b="1" i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elém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4" name="CaixaDeTexto 13"/>
          <p:cNvSpPr txBox="1"/>
          <p:nvPr/>
        </p:nvSpPr>
        <p:spPr>
          <a:xfrm>
            <a:off x="324480" y="2636912"/>
            <a:ext cx="8423984" cy="249299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Verificar os fatores que levam a diferentes desempenhos escolare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bg1"/>
                </a:solidFill>
              </a:rPr>
              <a:t>Esses fatores podem estar associados às características dos alunos, das turmas, dos professores, das escolas e do ambiente.</a:t>
            </a:r>
          </a:p>
          <a:p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7978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2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1328862" y="260648"/>
            <a:ext cx="55763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b="1" dirty="0">
                <a:solidFill>
                  <a:srgbClr val="002060"/>
                </a:solidFill>
              </a:rPr>
              <a:t>DEPÊNDENCIA ADMINISTRATIVA: Estadual x </a:t>
            </a:r>
            <a:r>
              <a:rPr lang="pt-BR" b="1" dirty="0" smtClean="0">
                <a:solidFill>
                  <a:srgbClr val="002060"/>
                </a:solidFill>
              </a:rPr>
              <a:t>Municipal</a:t>
            </a:r>
          </a:p>
          <a:p>
            <a:pPr algn="ctr"/>
            <a:r>
              <a:rPr lang="pt-BR" dirty="0" smtClean="0">
                <a:solidFill>
                  <a:srgbClr val="002060"/>
                </a:solidFill>
              </a:rPr>
              <a:t>Número de alunos</a:t>
            </a:r>
            <a:endParaRPr lang="pt-BR" dirty="0">
              <a:solidFill>
                <a:srgbClr val="002060"/>
              </a:solidFill>
            </a:endParaRP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2930374"/>
              </p:ext>
            </p:extLst>
          </p:nvPr>
        </p:nvGraphicFramePr>
        <p:xfrm>
          <a:off x="862012" y="1607343"/>
          <a:ext cx="7419975" cy="3643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8403962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>
                <a:solidFill>
                  <a:schemeClr val="accent1">
                    <a:lumMod val="75000"/>
                  </a:schemeClr>
                </a:solidFill>
              </a:rPr>
              <a:t>Questionários do </a:t>
            </a:r>
            <a:r>
              <a:rPr lang="pt-BR" sz="4000" b="1" dirty="0" err="1">
                <a:solidFill>
                  <a:schemeClr val="accent1">
                    <a:lumMod val="75000"/>
                  </a:schemeClr>
                </a:solidFill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Espaço Reservado para Conteúd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pt-BR" dirty="0"/>
              <a:t>Os fatores deste estudo foram extraídos, principalmente, dos questionários aplicados pelo </a:t>
            </a:r>
            <a:r>
              <a:rPr lang="pt-BR" dirty="0" err="1"/>
              <a:t>SisPAE</a:t>
            </a:r>
            <a:r>
              <a:rPr lang="pt-BR" dirty="0"/>
              <a:t> 2014, incluindo</a:t>
            </a:r>
            <a:r>
              <a:rPr lang="pt-BR" dirty="0" smtClean="0"/>
              <a:t>:</a:t>
            </a:r>
          </a:p>
          <a:p>
            <a:pPr marL="0" indent="0">
              <a:buNone/>
            </a:pPr>
            <a:endParaRPr lang="pt-BR" dirty="0" smtClean="0"/>
          </a:p>
          <a:p>
            <a:pPr lvl="1"/>
            <a:r>
              <a:rPr lang="pt-BR" sz="2400" dirty="0" smtClean="0">
                <a:solidFill>
                  <a:schemeClr val="accent1">
                    <a:lumMod val="50000"/>
                  </a:schemeClr>
                </a:solidFill>
              </a:rPr>
              <a:t>Questionário </a:t>
            </a:r>
            <a:r>
              <a:rPr lang="pt-BR" sz="2400" dirty="0">
                <a:solidFill>
                  <a:schemeClr val="accent1">
                    <a:lumMod val="50000"/>
                  </a:schemeClr>
                </a:solidFill>
              </a:rPr>
              <a:t>dos alunos;</a:t>
            </a:r>
          </a:p>
          <a:p>
            <a:pPr lvl="1"/>
            <a:r>
              <a:rPr lang="pt-BR" sz="2400" dirty="0">
                <a:solidFill>
                  <a:schemeClr val="accent1">
                    <a:lumMod val="50000"/>
                  </a:schemeClr>
                </a:solidFill>
              </a:rPr>
              <a:t>Questionário dos professores;</a:t>
            </a:r>
          </a:p>
          <a:p>
            <a:pPr lvl="1"/>
            <a:r>
              <a:rPr lang="pt-BR" sz="2400" dirty="0">
                <a:solidFill>
                  <a:schemeClr val="accent1">
                    <a:lumMod val="50000"/>
                  </a:schemeClr>
                </a:solidFill>
              </a:rPr>
              <a:t>Questionário do diretor; e</a:t>
            </a:r>
          </a:p>
          <a:p>
            <a:pPr lvl="1"/>
            <a:r>
              <a:rPr lang="pt-BR" sz="2400" dirty="0">
                <a:solidFill>
                  <a:schemeClr val="accent1">
                    <a:lumMod val="50000"/>
                  </a:schemeClr>
                </a:solidFill>
              </a:rPr>
              <a:t>Questionário da escola (infraestrutura)</a:t>
            </a:r>
          </a:p>
          <a:p>
            <a:endParaRPr lang="pt-BR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6" descr="logo_vunesp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963860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l"/>
            <a:r>
              <a:rPr lang="pt-BR" sz="4000" dirty="0" smtClean="0">
                <a:solidFill>
                  <a:schemeClr val="accent1">
                    <a:lumMod val="50000"/>
                  </a:schemeClr>
                </a:solidFill>
              </a:rPr>
              <a:t>Metodologia</a:t>
            </a:r>
            <a:endParaRPr lang="pt-BR" sz="4000" b="1" dirty="0">
              <a:ln w="11430"/>
              <a:solidFill>
                <a:schemeClr val="accent1">
                  <a:lumMod val="50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 algn="just"/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Primeiramente são construídas </a:t>
            </a:r>
            <a:r>
              <a:rPr lang="pt-BR" u="sng" dirty="0">
                <a:solidFill>
                  <a:schemeClr val="tx2">
                    <a:lumMod val="75000"/>
                  </a:schemeClr>
                </a:solidFill>
              </a:rPr>
              <a:t>medidas</a:t>
            </a:r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 associadas aos itens dos questionários. </a:t>
            </a:r>
            <a:br>
              <a:rPr lang="pt-BR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Nos casos mais complexos utiliza-se a teoria de resposta ao item (TRI).</a:t>
            </a:r>
          </a:p>
          <a:p>
            <a:pPr algn="just"/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No presente estudo todas as medidas foram agregadas para escolas.</a:t>
            </a:r>
          </a:p>
          <a:p>
            <a:pPr algn="just"/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A associação com o desempenho escolar é feita por análise de regressão. </a:t>
            </a:r>
          </a:p>
          <a:p>
            <a:pPr>
              <a:buNone/>
            </a:pP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26064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535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0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endParaRPr lang="pt-BR" sz="4000" b="1" dirty="0">
              <a:solidFill>
                <a:schemeClr val="tx2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420675" y="2924944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Defasagem escolar</a:t>
            </a:r>
          </a:p>
          <a:p>
            <a:pPr lvl="1"/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A defasagem do aluno foi feita com base na informação da idade do aluno.</a:t>
            </a:r>
          </a:p>
          <a:p>
            <a:pPr lvl="1"/>
            <a:r>
              <a:rPr lang="pt-BR" dirty="0">
                <a:solidFill>
                  <a:schemeClr val="tx2">
                    <a:lumMod val="75000"/>
                  </a:schemeClr>
                </a:solidFill>
              </a:rPr>
              <a:t>Calculou-se a média da defasagem dos alunos de cada escola</a:t>
            </a:r>
            <a:r>
              <a:rPr lang="pt-BR" dirty="0"/>
              <a:t>.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982" y="1484784"/>
            <a:ext cx="971550" cy="1046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3466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17218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0849" y="98728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Retângulo 16"/>
          <p:cNvSpPr/>
          <p:nvPr/>
        </p:nvSpPr>
        <p:spPr>
          <a:xfrm>
            <a:off x="467545" y="260648"/>
            <a:ext cx="82809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endParaRPr lang="pt-BR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27584" y="1859340"/>
            <a:ext cx="77768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Expectativa de curso superior na percepção do </a:t>
            </a: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aluno considerando </a:t>
            </a:r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os itens do </a:t>
            </a: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questionário:</a:t>
            </a:r>
          </a:p>
          <a:p>
            <a:pPr algn="just"/>
            <a:endParaRPr lang="pt-BR" sz="24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just"/>
            <a:r>
              <a:rPr lang="pt-BR" sz="2400" dirty="0" smtClean="0">
                <a:solidFill>
                  <a:schemeClr val="tx2">
                    <a:lumMod val="75000"/>
                  </a:schemeClr>
                </a:solidFill>
              </a:rPr>
              <a:t>Com </a:t>
            </a:r>
            <a:r>
              <a:rPr lang="pt-BR" sz="2400" dirty="0">
                <a:solidFill>
                  <a:schemeClr val="tx2">
                    <a:lumMod val="75000"/>
                  </a:schemeClr>
                </a:solidFill>
              </a:rPr>
              <a:t>base na nas suas expectativas, você acredita que irá</a:t>
            </a:r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:       </a:t>
            </a:r>
          </a:p>
          <a:p>
            <a:pPr marL="216000" lvl="2"/>
            <a:r>
              <a:rPr lang="pt-BR" sz="2400" dirty="0">
                <a:solidFill>
                  <a:schemeClr val="tx2">
                    <a:lumMod val="75000"/>
                  </a:schemeClr>
                </a:solidFill>
              </a:rPr>
              <a:t>30. Ingressar numa universidade pública.</a:t>
            </a:r>
          </a:p>
          <a:p>
            <a:pPr marL="216000" lvl="2"/>
            <a:r>
              <a:rPr lang="pt-BR" sz="2400" dirty="0">
                <a:solidFill>
                  <a:schemeClr val="tx2">
                    <a:lumMod val="75000"/>
                  </a:schemeClr>
                </a:solidFill>
              </a:rPr>
              <a:t>31. Ingressar numa faculdade </a:t>
            </a:r>
            <a:r>
              <a:rPr lang="pt-BR" sz="2400" dirty="0" smtClean="0">
                <a:solidFill>
                  <a:schemeClr val="tx2">
                    <a:lumMod val="75000"/>
                  </a:schemeClr>
                </a:solidFill>
              </a:rPr>
              <a:t>particular.</a:t>
            </a:r>
          </a:p>
          <a:p>
            <a:pPr marL="0" lvl="2"/>
            <a:endParaRPr lang="pt-BR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lvl="2"/>
            <a:r>
              <a:rPr lang="pt-BR" sz="2400" dirty="0" smtClean="0">
                <a:solidFill>
                  <a:schemeClr val="tx2">
                    <a:lumMod val="75000"/>
                  </a:schemeClr>
                </a:solidFill>
              </a:rPr>
              <a:t>Foi </a:t>
            </a:r>
            <a:r>
              <a:rPr lang="pt-BR" sz="2400" dirty="0">
                <a:solidFill>
                  <a:schemeClr val="tx2">
                    <a:lumMod val="75000"/>
                  </a:schemeClr>
                </a:solidFill>
              </a:rPr>
              <a:t>calculada a porcentagem de alunos que pretende fazer faculdade por escola </a:t>
            </a:r>
          </a:p>
        </p:txBody>
      </p:sp>
    </p:spTree>
    <p:extLst>
      <p:ext uri="{BB962C8B-B14F-4D97-AF65-F5344CB8AC3E}">
        <p14:creationId xmlns:p14="http://schemas.microsoft.com/office/powerpoint/2010/main" val="3335108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r>
              <a:rPr lang="pt-BR" sz="4000" b="1" dirty="0" smtClean="0">
                <a:solidFill>
                  <a:schemeClr val="tx2">
                    <a:lumMod val="75000"/>
                  </a:schemeClr>
                </a:solidFill>
              </a:rPr>
              <a:t>Medidas </a:t>
            </a:r>
            <a:r>
              <a:rPr lang="pt-BR" sz="4000" b="1" dirty="0">
                <a:solidFill>
                  <a:schemeClr val="tx2">
                    <a:lumMod val="75000"/>
                  </a:schemeClr>
                </a:solidFill>
              </a:rPr>
              <a:t>baseadas nos questionários respondidos pelos </a:t>
            </a:r>
            <a:r>
              <a:rPr lang="pt-BR" sz="4000" b="1" dirty="0" smtClean="0">
                <a:solidFill>
                  <a:schemeClr val="tx2">
                    <a:lumMod val="75000"/>
                  </a:schemeClr>
                </a:solidFill>
              </a:rPr>
              <a:t>alunos</a:t>
            </a:r>
            <a:endParaRPr lang="pt-BR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Retângulo 1"/>
          <p:cNvSpPr/>
          <p:nvPr/>
        </p:nvSpPr>
        <p:spPr>
          <a:xfrm>
            <a:off x="647736" y="1988840"/>
            <a:ext cx="7830591" cy="38472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002060"/>
                </a:solidFill>
              </a:rPr>
              <a:t>Nível socioeconômico do aluno (NSE_A)</a:t>
            </a:r>
          </a:p>
          <a:p>
            <a:pPr lvl="1"/>
            <a:endParaRPr lang="pt-BR" dirty="0" smtClean="0"/>
          </a:p>
          <a:p>
            <a:pPr marL="0" lvl="1"/>
            <a:r>
              <a:rPr lang="pt-BR" sz="2000" dirty="0" smtClean="0"/>
              <a:t>Medida </a:t>
            </a:r>
            <a:r>
              <a:rPr lang="pt-BR" sz="2000" dirty="0"/>
              <a:t>construída com auxílio da teoria da resposta ao item (TRI), numa escala com </a:t>
            </a:r>
            <a:r>
              <a:rPr lang="pt-BR" sz="2000" dirty="0">
                <a:solidFill>
                  <a:srgbClr val="7030A0"/>
                </a:solidFill>
              </a:rPr>
              <a:t>média 0</a:t>
            </a:r>
            <a:r>
              <a:rPr lang="pt-BR" sz="2000" dirty="0"/>
              <a:t> e </a:t>
            </a:r>
            <a:r>
              <a:rPr lang="pt-BR" sz="2000" dirty="0">
                <a:solidFill>
                  <a:srgbClr val="7030A0"/>
                </a:solidFill>
              </a:rPr>
              <a:t>desvio padrão 1</a:t>
            </a:r>
            <a:r>
              <a:rPr lang="pt-BR" sz="2000" dirty="0"/>
              <a:t>.</a:t>
            </a:r>
          </a:p>
          <a:p>
            <a:pPr marL="0" lvl="1"/>
            <a:endParaRPr lang="pt-BR" dirty="0" smtClean="0"/>
          </a:p>
          <a:p>
            <a:pPr marL="0" lvl="1"/>
            <a:r>
              <a:rPr lang="pt-BR" dirty="0" smtClean="0"/>
              <a:t>Itens </a:t>
            </a:r>
            <a:r>
              <a:rPr lang="pt-BR" dirty="0"/>
              <a:t>usados do questionário:</a:t>
            </a:r>
          </a:p>
          <a:p>
            <a:pPr lvl="2"/>
            <a:r>
              <a:rPr lang="pt-BR" dirty="0"/>
              <a:t>4. Até que série/ano sua mãe ou a responsável por você estudou?</a:t>
            </a:r>
          </a:p>
          <a:p>
            <a:pPr lvl="2"/>
            <a:r>
              <a:rPr lang="pt-BR" dirty="0"/>
              <a:t>5. Até que série/ano seu pai ou o responsável por você estudou?</a:t>
            </a:r>
          </a:p>
          <a:p>
            <a:pPr lvl="2"/>
            <a:r>
              <a:rPr lang="pt-BR" dirty="0"/>
              <a:t>6. Sua rua é asfaltada ou tem calçamento?                                                                            </a:t>
            </a:r>
            <a:endParaRPr lang="pt-BR" sz="3800" dirty="0"/>
          </a:p>
          <a:p>
            <a:pPr lvl="2"/>
            <a:r>
              <a:rPr lang="pt-BR" dirty="0"/>
              <a:t>7. Sua residência tem energia elétrica?                                                                                  </a:t>
            </a:r>
            <a:endParaRPr lang="pt-BR" sz="3800" dirty="0"/>
          </a:p>
          <a:p>
            <a:pPr lvl="2"/>
            <a:r>
              <a:rPr lang="pt-BR" dirty="0"/>
              <a:t>8. Sua residência tem água na torneira?                                                                                </a:t>
            </a:r>
            <a:endParaRPr lang="pt-BR" sz="3800" dirty="0"/>
          </a:p>
          <a:p>
            <a:pPr lvl="2"/>
            <a:r>
              <a:rPr lang="pt-BR" dirty="0"/>
              <a:t>9. Sua rua tem coleta de lixo?                                                                                                </a:t>
            </a:r>
            <a:endParaRPr lang="pt-BR" sz="3800" dirty="0"/>
          </a:p>
          <a:p>
            <a:pPr lvl="2"/>
            <a:r>
              <a:rPr lang="pt-BR" dirty="0"/>
              <a:t>10. Tem alguém que mora com você que recebe Bolsa Família?</a:t>
            </a:r>
          </a:p>
        </p:txBody>
      </p:sp>
    </p:spTree>
    <p:extLst>
      <p:ext uri="{BB962C8B-B14F-4D97-AF65-F5344CB8AC3E}">
        <p14:creationId xmlns:p14="http://schemas.microsoft.com/office/powerpoint/2010/main" val="102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just"/>
            <a:r>
              <a:rPr lang="pt-BR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</a:p>
        </p:txBody>
      </p:sp>
      <p:sp>
        <p:nvSpPr>
          <p:cNvPr id="3" name="Retângulo 2"/>
          <p:cNvSpPr/>
          <p:nvPr/>
        </p:nvSpPr>
        <p:spPr>
          <a:xfrm>
            <a:off x="395536" y="1556792"/>
            <a:ext cx="820891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2060"/>
                </a:solidFill>
              </a:rPr>
              <a:t>Nível socioeconômico do aluno (NSE_A)</a:t>
            </a:r>
          </a:p>
          <a:p>
            <a:pPr marL="360000" lvl="2"/>
            <a:r>
              <a:rPr lang="pt-BR" dirty="0" smtClean="0"/>
              <a:t>11</a:t>
            </a:r>
            <a:r>
              <a:rPr lang="pt-BR" dirty="0"/>
              <a:t>. Sanitário                                                                                                                       </a:t>
            </a:r>
          </a:p>
          <a:p>
            <a:pPr marL="360000" lvl="2"/>
            <a:r>
              <a:rPr lang="pt-BR" dirty="0"/>
              <a:t>12. Geladeira                                                                                                                     </a:t>
            </a:r>
          </a:p>
          <a:p>
            <a:pPr marL="360000" lvl="2"/>
            <a:r>
              <a:rPr lang="pt-BR" dirty="0"/>
              <a:t>13. TV em cores     </a:t>
            </a:r>
          </a:p>
          <a:p>
            <a:pPr marL="360000" lvl="2"/>
            <a:r>
              <a:rPr lang="pt-BR" dirty="0"/>
              <a:t>14. Máquina de lavar roupa                                               </a:t>
            </a:r>
          </a:p>
          <a:p>
            <a:pPr marL="360000" lvl="2"/>
            <a:r>
              <a:rPr lang="pt-BR" dirty="0"/>
              <a:t>15. Aparelho de DVD                                                                                                         </a:t>
            </a:r>
          </a:p>
          <a:p>
            <a:pPr marL="360000" lvl="2"/>
            <a:r>
              <a:rPr lang="pt-BR" dirty="0"/>
              <a:t>16. Automóvel (carro/moto)                                                                                               </a:t>
            </a:r>
          </a:p>
          <a:p>
            <a:pPr marL="360000" lvl="2"/>
            <a:r>
              <a:rPr lang="pt-BR" dirty="0"/>
              <a:t>17. Dicionário de Língua Portuguesa e/ou outras línguas.</a:t>
            </a:r>
          </a:p>
          <a:p>
            <a:pPr marL="360000" lvl="2"/>
            <a:r>
              <a:rPr lang="pt-BR" dirty="0"/>
              <a:t>18. Jornal de Notícias, como Diário do Pará, O Liberal, Amazônia e etc.?                       </a:t>
            </a:r>
          </a:p>
          <a:p>
            <a:pPr marL="360000" lvl="2"/>
            <a:r>
              <a:rPr lang="pt-BR" dirty="0"/>
              <a:t>19. Revistas de Informação Geral como Veja, Época, </a:t>
            </a:r>
            <a:r>
              <a:rPr lang="pt-BR" dirty="0" err="1"/>
              <a:t>Super</a:t>
            </a:r>
            <a:r>
              <a:rPr lang="pt-BR" dirty="0"/>
              <a:t> Interessante etc.?               </a:t>
            </a:r>
          </a:p>
          <a:p>
            <a:pPr marL="360000" lvl="2"/>
            <a:r>
              <a:rPr lang="pt-BR" dirty="0"/>
              <a:t>20. Livros </a:t>
            </a:r>
          </a:p>
          <a:p>
            <a:pPr marL="360000" lvl="2"/>
            <a:r>
              <a:rPr lang="pt-BR" dirty="0"/>
              <a:t>21. Na sua casa, trabalha alguma empregada doméstica?</a:t>
            </a:r>
          </a:p>
          <a:p>
            <a:pPr marL="360000" lvl="2"/>
            <a:r>
              <a:rPr lang="pt-BR" dirty="0"/>
              <a:t>22. Sem considerar livros escolares, jornais e revistas, quantos livros existem no local onde você mora?</a:t>
            </a:r>
          </a:p>
          <a:p>
            <a:pPr marL="360000" lvl="2"/>
            <a:r>
              <a:rPr lang="pt-BR" dirty="0"/>
              <a:t>23. Com qual frequência você vê seus pais, ou responsáveis por você, lendo (jornais, revistas, livros etc.)?</a:t>
            </a:r>
          </a:p>
          <a:p>
            <a:pPr marL="360000" lvl="2"/>
            <a:r>
              <a:rPr lang="pt-BR" dirty="0"/>
              <a:t>26. Você tem  computador   no  local  onde  você mora?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547597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783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pt-BR" sz="2400" b="1" dirty="0">
                <a:solidFill>
                  <a:srgbClr val="002060"/>
                </a:solidFill>
              </a:rPr>
              <a:t>Nível socioeconômico do aluno (NSE_A</a:t>
            </a:r>
            <a:r>
              <a:rPr lang="pt-BR" sz="2400" b="1" dirty="0" smtClean="0">
                <a:solidFill>
                  <a:srgbClr val="002060"/>
                </a:solidFill>
              </a:rPr>
              <a:t>)</a:t>
            </a:r>
          </a:p>
          <a:p>
            <a:pPr marL="0" indent="0">
              <a:buNone/>
            </a:pPr>
            <a:endParaRPr lang="pt-BR" sz="2400" b="1" dirty="0">
              <a:solidFill>
                <a:srgbClr val="002060"/>
              </a:solidFill>
            </a:endParaRPr>
          </a:p>
          <a:p>
            <a:pPr lvl="1"/>
            <a:r>
              <a:rPr lang="pt-BR" sz="2400" dirty="0"/>
              <a:t>Depois de obtido o nível socioeconômico dos alunos, calculou-se a média por escola como uma medida do nível socioeconômico da escola (NSE_AE)</a:t>
            </a:r>
          </a:p>
          <a:p>
            <a:pPr lvl="1"/>
            <a:endParaRPr lang="pt-BR" sz="2400" dirty="0"/>
          </a:p>
          <a:p>
            <a:pPr lvl="1"/>
            <a:r>
              <a:rPr lang="pt-BR" sz="2200" dirty="0">
                <a:solidFill>
                  <a:srgbClr val="C00000"/>
                </a:solidFill>
              </a:rPr>
              <a:t>Observamos que os alunos de 4º e 5º ano parecem ter tido dificuldades para responder esses itens do questionário (muitos itens sem resposta e, aparentemente, muitos itens mal respondidos). A construção deste e de outras medidas do questionário dos alunos foram feitas com as respostas das séries mais avançadas. Embora os valores das medidas foram atribuídas para todos alunos que responderam a maioria dos </a:t>
            </a:r>
            <a:r>
              <a:rPr lang="pt-BR" sz="2400" dirty="0">
                <a:solidFill>
                  <a:srgbClr val="C00000"/>
                </a:solidFill>
              </a:rPr>
              <a:t>itens.</a:t>
            </a:r>
          </a:p>
          <a:p>
            <a:endParaRPr lang="pt-BR" sz="2400" dirty="0"/>
          </a:p>
        </p:txBody>
      </p:sp>
      <p:grpSp>
        <p:nvGrpSpPr>
          <p:cNvPr id="4" name="Grupo 3"/>
          <p:cNvGrpSpPr/>
          <p:nvPr/>
        </p:nvGrpSpPr>
        <p:grpSpPr>
          <a:xfrm>
            <a:off x="167729" y="5664918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208512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1328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tângulo 6"/>
          <p:cNvSpPr/>
          <p:nvPr/>
        </p:nvSpPr>
        <p:spPr>
          <a:xfrm>
            <a:off x="323527" y="444480"/>
            <a:ext cx="70786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32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endParaRPr lang="pt-BR" sz="3200" dirty="0"/>
          </a:p>
        </p:txBody>
      </p:sp>
      <p:sp>
        <p:nvSpPr>
          <p:cNvPr id="9" name="Retângulo 8"/>
          <p:cNvSpPr/>
          <p:nvPr/>
        </p:nvSpPr>
        <p:spPr>
          <a:xfrm>
            <a:off x="683568" y="1997839"/>
            <a:ext cx="756084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2060"/>
                </a:solidFill>
              </a:rPr>
              <a:t>Nível de satisfação dos alunos com a escola (NSAE_A</a:t>
            </a:r>
            <a:r>
              <a:rPr lang="pt-BR" sz="2000" b="1" dirty="0" smtClean="0">
                <a:solidFill>
                  <a:srgbClr val="002060"/>
                </a:solidFill>
              </a:rPr>
              <a:t>)</a:t>
            </a:r>
          </a:p>
          <a:p>
            <a:endParaRPr lang="pt-BR" sz="2000" b="1" dirty="0">
              <a:solidFill>
                <a:srgbClr val="002060"/>
              </a:solidFill>
            </a:endParaRPr>
          </a:p>
          <a:p>
            <a:pPr lvl="1"/>
            <a:r>
              <a:rPr lang="pt-BR" sz="2000" dirty="0"/>
              <a:t>Medida construída com auxílio da teoria da resposta ao item (TRI), numa escala com </a:t>
            </a:r>
            <a:r>
              <a:rPr lang="pt-BR" sz="2000" dirty="0">
                <a:solidFill>
                  <a:srgbClr val="7030A0"/>
                </a:solidFill>
              </a:rPr>
              <a:t>média 0</a:t>
            </a:r>
            <a:r>
              <a:rPr lang="pt-BR" sz="2000" dirty="0"/>
              <a:t> e </a:t>
            </a:r>
            <a:r>
              <a:rPr lang="pt-BR" sz="2000" dirty="0">
                <a:solidFill>
                  <a:srgbClr val="7030A0"/>
                </a:solidFill>
              </a:rPr>
              <a:t>desvio padrão 1</a:t>
            </a:r>
            <a:r>
              <a:rPr lang="pt-BR" sz="2000" dirty="0"/>
              <a:t>.</a:t>
            </a:r>
          </a:p>
          <a:p>
            <a:pPr lvl="1"/>
            <a:r>
              <a:rPr lang="pt-BR" sz="2000" dirty="0"/>
              <a:t>Depois de obtida a medida por aluno, calculou-se a média por escola como uma medida da escola (NSAE_AE)</a:t>
            </a:r>
          </a:p>
          <a:p>
            <a:pPr lvl="1"/>
            <a:endParaRPr lang="pt-BR" sz="2400" dirty="0"/>
          </a:p>
          <a:p>
            <a:pPr lvl="1"/>
            <a:r>
              <a:rPr lang="pt-BR" sz="2400" b="1" dirty="0"/>
              <a:t>Itens usados do questionário:</a:t>
            </a:r>
          </a:p>
        </p:txBody>
      </p:sp>
      <p:grpSp>
        <p:nvGrpSpPr>
          <p:cNvPr id="17" name="Grupo 16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20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4058536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510974" y="404664"/>
            <a:ext cx="8190656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/>
            <a:r>
              <a:rPr lang="pt-BR" dirty="0" smtClean="0"/>
              <a:t>36</a:t>
            </a:r>
            <a:r>
              <a:rPr lang="pt-BR" dirty="0"/>
              <a:t>. Tenho participado de coisas interessantes na escola.</a:t>
            </a:r>
          </a:p>
          <a:p>
            <a:pPr lvl="2"/>
            <a:r>
              <a:rPr lang="pt-BR" dirty="0"/>
              <a:t>37. Acho que vale a pena estudar nesta escola.</a:t>
            </a:r>
          </a:p>
          <a:p>
            <a:pPr lvl="2"/>
            <a:r>
              <a:rPr lang="pt-BR" dirty="0"/>
              <a:t>38. Estou sempre aprendendo coisas novas nesta escola.                                  </a:t>
            </a:r>
          </a:p>
          <a:p>
            <a:pPr lvl="2"/>
            <a:r>
              <a:rPr lang="pt-BR" dirty="0"/>
              <a:t>39. Sinto-me bem cuidado(a) nesta escola.</a:t>
            </a:r>
          </a:p>
          <a:p>
            <a:pPr lvl="2"/>
            <a:r>
              <a:rPr lang="pt-BR" dirty="0"/>
              <a:t>40. Sinto que sou valorizado(a) nesta escola.</a:t>
            </a:r>
          </a:p>
          <a:p>
            <a:pPr lvl="2"/>
            <a:r>
              <a:rPr lang="pt-BR" dirty="0"/>
              <a:t>41. A escola em que estudo é acolhedora.</a:t>
            </a:r>
          </a:p>
          <a:p>
            <a:pPr lvl="2"/>
            <a:r>
              <a:rPr lang="pt-BR" dirty="0"/>
              <a:t>42. Gosto de estudar nesta escola.</a:t>
            </a:r>
          </a:p>
          <a:p>
            <a:pPr lvl="2"/>
            <a:r>
              <a:rPr lang="pt-BR" dirty="0"/>
              <a:t>43. Eu me sinto cheio(a) de energia e animado(a) na escola.</a:t>
            </a:r>
          </a:p>
          <a:p>
            <a:pPr lvl="2"/>
            <a:r>
              <a:rPr lang="pt-BR" dirty="0"/>
              <a:t>44. Gosto de ir para a escola.</a:t>
            </a:r>
          </a:p>
          <a:p>
            <a:pPr lvl="2"/>
            <a:r>
              <a:rPr lang="pt-BR" dirty="0"/>
              <a:t>50. Nas aulas, o(a) professor(a) ouve a opinião dos alunos.</a:t>
            </a:r>
          </a:p>
          <a:p>
            <a:pPr lvl="2"/>
            <a:r>
              <a:rPr lang="pt-BR" dirty="0"/>
              <a:t>51. O(A) professor(a) sempre esclarece minhas dúvidas.</a:t>
            </a:r>
          </a:p>
          <a:p>
            <a:pPr lvl="2"/>
            <a:r>
              <a:rPr lang="pt-BR" dirty="0"/>
              <a:t>52. Aprendo a matéria que o(a) professor(a) ensina.</a:t>
            </a:r>
          </a:p>
          <a:p>
            <a:pPr lvl="2"/>
            <a:r>
              <a:rPr lang="pt-BR" dirty="0"/>
              <a:t>56. O(A) professor(a) explica até que todos entendam a matéria.</a:t>
            </a:r>
          </a:p>
          <a:p>
            <a:pPr lvl="2"/>
            <a:r>
              <a:rPr lang="pt-BR" dirty="0"/>
              <a:t>57. Para o(a) professor(a), a turma toda pode aprender.</a:t>
            </a:r>
          </a:p>
          <a:p>
            <a:pPr lvl="2"/>
            <a:r>
              <a:rPr lang="pt-BR" dirty="0"/>
              <a:t>58. Eu capricho na hora de fazer os meus trabalhos.</a:t>
            </a:r>
          </a:p>
          <a:p>
            <a:pPr lvl="2"/>
            <a:r>
              <a:rPr lang="pt-BR" dirty="0"/>
              <a:t>59. O(A) professor(a) é claro ao explicar a matéria.</a:t>
            </a:r>
          </a:p>
          <a:p>
            <a:pPr lvl="2"/>
            <a:r>
              <a:rPr lang="pt-BR" dirty="0"/>
              <a:t>60. Acho as aulas interessantes e animadas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8480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827584" y="404664"/>
            <a:ext cx="770485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endParaRPr lang="pt-BR" sz="2800" dirty="0"/>
          </a:p>
        </p:txBody>
      </p:sp>
      <p:sp>
        <p:nvSpPr>
          <p:cNvPr id="4" name="Retângulo 3"/>
          <p:cNvSpPr/>
          <p:nvPr/>
        </p:nvSpPr>
        <p:spPr>
          <a:xfrm>
            <a:off x="971600" y="1484784"/>
            <a:ext cx="770485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2060"/>
                </a:solidFill>
              </a:rPr>
              <a:t>Nível do clima escolar, na percepção dos alunos (NCE_A</a:t>
            </a:r>
            <a:r>
              <a:rPr lang="pt-BR" sz="2000" b="1" dirty="0" smtClean="0">
                <a:solidFill>
                  <a:srgbClr val="002060"/>
                </a:solidFill>
              </a:rPr>
              <a:t>)</a:t>
            </a:r>
          </a:p>
          <a:p>
            <a:endParaRPr lang="pt-BR" sz="2000" b="1" dirty="0"/>
          </a:p>
          <a:p>
            <a:r>
              <a:rPr lang="pt-BR" sz="2000" dirty="0"/>
              <a:t>Medida construída com auxílio da teoria da resposta ao item (TRI), numa escala com </a:t>
            </a:r>
            <a:r>
              <a:rPr lang="pt-BR" sz="2000" dirty="0">
                <a:solidFill>
                  <a:srgbClr val="7030A0"/>
                </a:solidFill>
              </a:rPr>
              <a:t>média 0</a:t>
            </a:r>
            <a:r>
              <a:rPr lang="pt-BR" sz="2000" dirty="0"/>
              <a:t> e </a:t>
            </a:r>
            <a:r>
              <a:rPr lang="pt-BR" sz="2000" dirty="0">
                <a:solidFill>
                  <a:srgbClr val="7030A0"/>
                </a:solidFill>
              </a:rPr>
              <a:t>desvio padrão 1</a:t>
            </a:r>
            <a:r>
              <a:rPr lang="pt-BR" sz="2000" dirty="0" smtClean="0"/>
              <a:t>.</a:t>
            </a:r>
          </a:p>
          <a:p>
            <a:endParaRPr lang="pt-BR" sz="2000" dirty="0"/>
          </a:p>
          <a:p>
            <a:endParaRPr lang="pt-BR" sz="2000" dirty="0"/>
          </a:p>
          <a:p>
            <a:pPr lvl="1"/>
            <a:r>
              <a:rPr lang="pt-BR" sz="2000" dirty="0"/>
              <a:t>Depois de obtida a medida por aluno, calculou-se a média por escola como uma medida da escola (NCE_AE)</a:t>
            </a:r>
          </a:p>
          <a:p>
            <a:pPr lvl="1"/>
            <a:endParaRPr lang="pt-BR" sz="2400" dirty="0"/>
          </a:p>
          <a:p>
            <a:pPr lvl="1"/>
            <a:r>
              <a:rPr lang="pt-BR" sz="2400" b="1" dirty="0"/>
              <a:t>Itens usados do questionário: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552066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3" name="CaixaDeTexto 12"/>
          <p:cNvSpPr txBox="1"/>
          <p:nvPr/>
        </p:nvSpPr>
        <p:spPr>
          <a:xfrm>
            <a:off x="1619672" y="404664"/>
            <a:ext cx="561662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2060"/>
                </a:solidFill>
              </a:rPr>
              <a:t>DEPÊNDENCIA ADMINISTRATIVA: Urbana x Rural</a:t>
            </a:r>
          </a:p>
          <a:p>
            <a:pPr algn="ctr"/>
            <a:r>
              <a:rPr lang="pt-BR" dirty="0" smtClean="0">
                <a:solidFill>
                  <a:srgbClr val="002060"/>
                </a:solidFill>
              </a:rPr>
              <a:t>Média de Proficiência em Língua Portuguesa</a:t>
            </a:r>
            <a:endParaRPr lang="pt-BR" dirty="0">
              <a:solidFill>
                <a:srgbClr val="002060"/>
              </a:solidFill>
            </a:endParaRP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5293340"/>
              </p:ext>
            </p:extLst>
          </p:nvPr>
        </p:nvGraphicFramePr>
        <p:xfrm>
          <a:off x="324480" y="1397793"/>
          <a:ext cx="8351976" cy="3759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31816530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539552" y="1632943"/>
            <a:ext cx="806489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lvl="2">
              <a:lnSpc>
                <a:spcPct val="150000"/>
              </a:lnSpc>
            </a:pPr>
            <a:r>
              <a:rPr lang="pt-BR" dirty="0"/>
              <a:t>45. A escola é uma bagunça. Ficam muitos alunos do lado de fora da sala fazendo barulho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6. Quando alguém me ameaça ou agride, não adianta reclamar na direção. Tudo continua do mesmo jeito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7. A turma demora a fazer silêncio, depois que o(a) professor(a) entra em sala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8. Durante as aulas, há muito barulho e bagunça, o que atrapalha quem quer estudar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9. Por qualquer motivo, os alunos são colocados para fora da sala pelo Professor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7581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440160"/>
          </a:xfrm>
        </p:spPr>
        <p:txBody>
          <a:bodyPr>
            <a:noAutofit/>
          </a:bodyPr>
          <a:lstStyle/>
          <a:p>
            <a:pPr algn="l"/>
            <a:r>
              <a:rPr lang="pt-BR" sz="32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alunos</a:t>
            </a:r>
            <a:r>
              <a:rPr lang="pt-BR" sz="3200" dirty="0"/>
              <a:t/>
            </a:r>
            <a:br>
              <a:rPr lang="pt-BR" sz="3200" dirty="0"/>
            </a:br>
            <a:endParaRPr lang="pt-BR" sz="3200" dirty="0"/>
          </a:p>
        </p:txBody>
      </p:sp>
      <p:sp>
        <p:nvSpPr>
          <p:cNvPr id="3" name="Retângulo 2"/>
          <p:cNvSpPr/>
          <p:nvPr/>
        </p:nvSpPr>
        <p:spPr>
          <a:xfrm>
            <a:off x="467544" y="1997839"/>
            <a:ext cx="8136904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>
                <a:solidFill>
                  <a:srgbClr val="002060"/>
                </a:solidFill>
              </a:rPr>
              <a:t>Nível de relacionamento na escola, na percepção dos alunos (NRE_A</a:t>
            </a:r>
            <a:r>
              <a:rPr lang="pt-BR" sz="2000" b="1" dirty="0" smtClean="0">
                <a:solidFill>
                  <a:srgbClr val="002060"/>
                </a:solidFill>
              </a:rPr>
              <a:t>)</a:t>
            </a:r>
          </a:p>
          <a:p>
            <a:endParaRPr lang="pt-BR" dirty="0"/>
          </a:p>
          <a:p>
            <a:r>
              <a:rPr lang="pt-BR" sz="2400" dirty="0"/>
              <a:t>Medida construída com auxílio da teoria da resposta ao item (TRI), numa escala com </a:t>
            </a:r>
            <a:r>
              <a:rPr lang="pt-BR" sz="2400" dirty="0">
                <a:solidFill>
                  <a:srgbClr val="7030A0"/>
                </a:solidFill>
              </a:rPr>
              <a:t>média 0</a:t>
            </a:r>
            <a:r>
              <a:rPr lang="pt-BR" sz="2400" dirty="0"/>
              <a:t> e </a:t>
            </a:r>
            <a:r>
              <a:rPr lang="pt-BR" sz="2400" dirty="0">
                <a:solidFill>
                  <a:srgbClr val="7030A0"/>
                </a:solidFill>
              </a:rPr>
              <a:t>desvio padrão 1</a:t>
            </a:r>
            <a:r>
              <a:rPr lang="pt-BR" sz="2400" dirty="0" smtClean="0"/>
              <a:t>.</a:t>
            </a:r>
          </a:p>
          <a:p>
            <a:endParaRPr lang="pt-BR" dirty="0"/>
          </a:p>
          <a:p>
            <a:endParaRPr lang="pt-BR" dirty="0"/>
          </a:p>
          <a:p>
            <a:pPr lvl="1"/>
            <a:r>
              <a:rPr lang="pt-BR" sz="2000" dirty="0"/>
              <a:t>Depois de obtida a medida por aluno, calculou-se a média por escola como uma medida da escola (NRE_AE)</a:t>
            </a:r>
          </a:p>
          <a:p>
            <a:pPr lvl="1"/>
            <a:endParaRPr lang="pt-BR" sz="2000" dirty="0"/>
          </a:p>
          <a:p>
            <a:pPr lvl="1"/>
            <a:r>
              <a:rPr lang="pt-BR" sz="2000" b="1" dirty="0"/>
              <a:t>Itens usados do questionário: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021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Retângulo 7"/>
          <p:cNvSpPr/>
          <p:nvPr/>
        </p:nvSpPr>
        <p:spPr>
          <a:xfrm>
            <a:off x="755575" y="1228398"/>
            <a:ext cx="7980153" cy="32762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04000" lvl="2">
              <a:lnSpc>
                <a:spcPct val="150000"/>
              </a:lnSpc>
            </a:pPr>
            <a:r>
              <a:rPr lang="pt-BR" dirty="0"/>
              <a:t>64. </a:t>
            </a:r>
            <a:r>
              <a:rPr lang="pt-BR" sz="2000" dirty="0"/>
              <a:t>Como você vê a relação entre professores e estudante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65. Como você vê a relação entre estudantes e estudante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66. Como você vê a relação entre professores e gestore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67. Como você vê a relação entre os professore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68. Como você vê a relação entre estudantes e gestore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69. Como você vê a relação entre estudantes e funcionários?</a:t>
            </a:r>
          </a:p>
          <a:p>
            <a:pPr marL="504000" lvl="2">
              <a:lnSpc>
                <a:spcPct val="150000"/>
              </a:lnSpc>
            </a:pPr>
            <a:r>
              <a:rPr lang="pt-BR" sz="2000" dirty="0"/>
              <a:t>70. Como você vê a relação entre professores e funcionários?</a:t>
            </a:r>
            <a:endParaRPr lang="pt-BR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6938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39552" y="548680"/>
            <a:ext cx="82809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200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sz="3200" b="1" dirty="0">
                <a:solidFill>
                  <a:schemeClr val="tx2">
                    <a:lumMod val="75000"/>
                  </a:schemeClr>
                </a:solidFill>
              </a:rPr>
              <a:t>professores</a:t>
            </a:r>
            <a:endParaRPr lang="pt-BR" sz="32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539552" y="2413338"/>
            <a:ext cx="806489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Nível de instrução dos </a:t>
            </a: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professores</a:t>
            </a:r>
          </a:p>
          <a:p>
            <a:endParaRPr lang="pt-BR" sz="2400" b="1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r>
              <a:rPr lang="pt-BR" sz="2000" dirty="0">
                <a:solidFill>
                  <a:srgbClr val="FF0000"/>
                </a:solidFill>
              </a:rPr>
              <a:t>Foram criadas duas variáveis indicadoras (tipo </a:t>
            </a:r>
            <a:r>
              <a:rPr lang="pt-BR" sz="2000" i="1" dirty="0">
                <a:solidFill>
                  <a:srgbClr val="FF0000"/>
                </a:solidFill>
              </a:rPr>
              <a:t>sim-não</a:t>
            </a:r>
            <a:r>
              <a:rPr lang="pt-BR" sz="2000" dirty="0" smtClean="0">
                <a:solidFill>
                  <a:srgbClr val="FF0000"/>
                </a:solidFill>
              </a:rPr>
              <a:t>)</a:t>
            </a:r>
          </a:p>
          <a:p>
            <a:pPr lvl="1"/>
            <a:endParaRPr lang="pt-BR" sz="2400" dirty="0"/>
          </a:p>
          <a:p>
            <a:pPr marL="360000" lvl="2" indent="-342900">
              <a:buFont typeface="Arial" panose="020B0604020202020204" pitchFamily="34" charset="0"/>
              <a:buChar char="•"/>
            </a:pPr>
            <a:r>
              <a:rPr lang="pt-BR" sz="2400" dirty="0"/>
              <a:t>se a escola tem professores na série sem curso superior;</a:t>
            </a:r>
          </a:p>
          <a:p>
            <a:pPr marL="360000" lvl="2" indent="-342900">
              <a:buFont typeface="Arial" panose="020B0604020202020204" pitchFamily="34" charset="0"/>
              <a:buChar char="•"/>
            </a:pPr>
            <a:r>
              <a:rPr lang="pt-BR" sz="2400" dirty="0"/>
              <a:t>se a escola tem professores na série com pós-graduação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1796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 txBox="1">
            <a:spLocks/>
          </p:cNvSpPr>
          <p:nvPr/>
        </p:nvSpPr>
        <p:spPr>
          <a:xfrm>
            <a:off x="251520" y="332656"/>
            <a:ext cx="8892480" cy="990600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BR" dirty="0" smtClean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b="1" dirty="0" smtClean="0">
                <a:solidFill>
                  <a:schemeClr val="tx2">
                    <a:lumMod val="75000"/>
                  </a:schemeClr>
                </a:solidFill>
              </a:rPr>
              <a:t>professores</a:t>
            </a:r>
            <a:endParaRPr lang="pt-BR" b="1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395535" y="1582341"/>
            <a:ext cx="834019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000" b="1" dirty="0"/>
              <a:t>Nível de instrução dos </a:t>
            </a:r>
            <a:r>
              <a:rPr lang="pt-BR" sz="2000" b="1" dirty="0" smtClean="0"/>
              <a:t>professores</a:t>
            </a:r>
          </a:p>
          <a:p>
            <a:endParaRPr lang="pt-BR" sz="2000" dirty="0"/>
          </a:p>
          <a:p>
            <a:pPr lvl="1"/>
            <a:r>
              <a:rPr lang="pt-BR" sz="2000" dirty="0"/>
              <a:t>Foram criadas duas variáveis indicadoras (tipo </a:t>
            </a:r>
            <a:r>
              <a:rPr lang="pt-BR" sz="2000" i="1" dirty="0"/>
              <a:t>sim-não</a:t>
            </a:r>
            <a:r>
              <a:rPr lang="pt-BR" sz="2000" dirty="0" smtClean="0"/>
              <a:t>)</a:t>
            </a:r>
          </a:p>
          <a:p>
            <a:pPr lvl="1"/>
            <a:endParaRPr lang="pt-BR" sz="2000" dirty="0"/>
          </a:p>
          <a:p>
            <a:pPr marL="360000" lvl="2" indent="-34290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chemeClr val="tx2">
                    <a:lumMod val="75000"/>
                  </a:schemeClr>
                </a:solidFill>
              </a:rPr>
              <a:t>se a escola tem professor que leciona predominantemente </a:t>
            </a:r>
            <a:r>
              <a:rPr lang="pt-BR" sz="2000" u="sng" dirty="0">
                <a:solidFill>
                  <a:schemeClr val="tx2">
                    <a:lumMod val="75000"/>
                  </a:schemeClr>
                </a:solidFill>
              </a:rPr>
              <a:t>português</a:t>
            </a:r>
            <a:r>
              <a:rPr lang="pt-BR" sz="2000" dirty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360000" lvl="2" indent="-342900">
              <a:buFont typeface="Arial" panose="020B0604020202020204" pitchFamily="34" charset="0"/>
              <a:buChar char="•"/>
            </a:pPr>
            <a:r>
              <a:rPr lang="pt-BR" sz="2000" dirty="0">
                <a:solidFill>
                  <a:schemeClr val="tx2">
                    <a:lumMod val="75000"/>
                  </a:schemeClr>
                </a:solidFill>
              </a:rPr>
              <a:t>se a escola tem professor que leciona predominantemente </a:t>
            </a:r>
            <a:r>
              <a:rPr lang="pt-BR" sz="2000" u="sng" dirty="0">
                <a:solidFill>
                  <a:schemeClr val="tx2">
                    <a:lumMod val="75000"/>
                  </a:schemeClr>
                </a:solidFill>
              </a:rPr>
              <a:t>matemática</a:t>
            </a:r>
            <a:r>
              <a:rPr lang="pt-BR" sz="2000" dirty="0" smtClean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pPr marL="360000" lvl="2" indent="-342900">
              <a:buFont typeface="Arial" panose="020B0604020202020204" pitchFamily="34" charset="0"/>
              <a:buChar char="•"/>
            </a:pPr>
            <a:endParaRPr lang="pt-BR" sz="2000" dirty="0">
              <a:solidFill>
                <a:schemeClr val="tx2">
                  <a:lumMod val="75000"/>
                </a:schemeClr>
              </a:solidFill>
            </a:endParaRPr>
          </a:p>
          <a:p>
            <a:pPr marL="360000" lvl="2" indent="-342900">
              <a:buFont typeface="Arial" panose="020B0604020202020204" pitchFamily="34" charset="0"/>
              <a:buChar char="•"/>
            </a:pPr>
            <a:endParaRPr lang="pt-BR" sz="2000" dirty="0">
              <a:solidFill>
                <a:schemeClr val="tx2">
                  <a:lumMod val="75000"/>
                </a:schemeClr>
              </a:solidFill>
            </a:endParaRPr>
          </a:p>
          <a:p>
            <a:pPr lvl="1"/>
            <a:r>
              <a:rPr lang="pt-BR" sz="2000" dirty="0"/>
              <a:t>A primeira variável será usada como possível fator associado em língua portuguesa e a segunda como possível fator associado em matemática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0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467544" y="332656"/>
            <a:ext cx="7992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professores</a:t>
            </a:r>
          </a:p>
        </p:txBody>
      </p:sp>
      <p:sp>
        <p:nvSpPr>
          <p:cNvPr id="3" name="Retângulo 2"/>
          <p:cNvSpPr/>
          <p:nvPr/>
        </p:nvSpPr>
        <p:spPr>
          <a:xfrm>
            <a:off x="611560" y="1582341"/>
            <a:ext cx="828092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/>
              <a:t>Projeto de redução da taxa de abandono escolar.</a:t>
            </a:r>
          </a:p>
          <a:p>
            <a:pPr lvl="1"/>
            <a:r>
              <a:rPr lang="pt-BR" dirty="0"/>
              <a:t>Variável indicadora (tipo </a:t>
            </a:r>
            <a:r>
              <a:rPr lang="pt-BR" i="1" dirty="0"/>
              <a:t>sim-não</a:t>
            </a:r>
            <a:r>
              <a:rPr lang="pt-BR" dirty="0"/>
              <a:t>). Considerado </a:t>
            </a:r>
            <a:r>
              <a:rPr lang="pt-BR" u="sng" dirty="0"/>
              <a:t>sim</a:t>
            </a:r>
            <a:r>
              <a:rPr lang="pt-BR" dirty="0"/>
              <a:t> quando a maioria dos professores respondem que concordam que existe esse projeto na escola.</a:t>
            </a:r>
          </a:p>
          <a:p>
            <a:pPr lvl="1"/>
            <a:endParaRPr lang="pt-BR" dirty="0" smtClean="0"/>
          </a:p>
          <a:p>
            <a:pPr lvl="1"/>
            <a:endParaRPr lang="pt-BR" dirty="0"/>
          </a:p>
          <a:p>
            <a:r>
              <a:rPr lang="pt-BR" sz="2400" b="1" dirty="0"/>
              <a:t>Projeto de redução da taxa de reprovação escolar.</a:t>
            </a:r>
          </a:p>
          <a:p>
            <a:pPr lvl="1"/>
            <a:r>
              <a:rPr lang="pt-BR" dirty="0"/>
              <a:t>Variável indicadora (tipo </a:t>
            </a:r>
            <a:r>
              <a:rPr lang="pt-BR" i="1" dirty="0"/>
              <a:t>sim-não</a:t>
            </a:r>
            <a:r>
              <a:rPr lang="pt-BR" dirty="0"/>
              <a:t>). Considerado </a:t>
            </a:r>
            <a:r>
              <a:rPr lang="pt-BR" u="sng" dirty="0"/>
              <a:t>sim</a:t>
            </a:r>
            <a:r>
              <a:rPr lang="pt-BR" dirty="0"/>
              <a:t> quando a maioria dos professores respondem que concordam que existe esse projeto na escola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2589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03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611560" y="332656"/>
            <a:ext cx="82809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professores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329726" y="1340615"/>
            <a:ext cx="8568952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000" lvl="2"/>
            <a:r>
              <a:rPr lang="pt-BR" sz="2000" b="1" dirty="0">
                <a:solidFill>
                  <a:srgbClr val="002060"/>
                </a:solidFill>
              </a:rPr>
              <a:t>Nível de comprometimento do professor (NCP_P)</a:t>
            </a:r>
          </a:p>
          <a:p>
            <a:pPr lvl="2"/>
            <a:endParaRPr lang="pt-BR" sz="1600" dirty="0" smtClean="0"/>
          </a:p>
          <a:p>
            <a:pPr lvl="2"/>
            <a:r>
              <a:rPr lang="pt-BR" sz="1600" dirty="0" smtClean="0"/>
              <a:t>19</a:t>
            </a:r>
            <a:r>
              <a:rPr lang="pt-BR" sz="1600" dirty="0"/>
              <a:t>. Participei da elaboração do Projeto Político Pedagógico da Escola.</a:t>
            </a:r>
          </a:p>
          <a:p>
            <a:pPr lvl="2"/>
            <a:r>
              <a:rPr lang="pt-BR" sz="1600" dirty="0"/>
              <a:t>20. Conheço o Projeto Político Pedagógico da Escola.</a:t>
            </a:r>
          </a:p>
          <a:p>
            <a:pPr lvl="2"/>
            <a:r>
              <a:rPr lang="pt-BR" sz="1600" dirty="0"/>
              <a:t>21. Conheço as metas de Desempenho estabelecidas para a Escola.</a:t>
            </a:r>
          </a:p>
          <a:p>
            <a:pPr lvl="2"/>
            <a:r>
              <a:rPr lang="pt-BR" sz="1600" dirty="0"/>
              <a:t>28. Converso com os pais sobre os problemas de aprendizagem de seus filhos na escola.</a:t>
            </a:r>
          </a:p>
          <a:p>
            <a:pPr lvl="2"/>
            <a:r>
              <a:rPr lang="pt-BR" sz="1600" dirty="0"/>
              <a:t>29. Converso com os pais sobre os problemas disciplinares de seus filhos na escola.</a:t>
            </a:r>
          </a:p>
          <a:p>
            <a:pPr lvl="2"/>
            <a:r>
              <a:rPr lang="pt-BR" sz="1600" dirty="0"/>
              <a:t>43. Sempre corrijo e discuto a correção do dever de casa com os alunos.</a:t>
            </a:r>
          </a:p>
          <a:p>
            <a:pPr lvl="2"/>
            <a:r>
              <a:rPr lang="pt-BR" sz="1600" dirty="0"/>
              <a:t>44. Utilizo os resultados da avaliação para melhorar o que faço.</a:t>
            </a:r>
          </a:p>
          <a:p>
            <a:pPr lvl="2"/>
            <a:r>
              <a:rPr lang="pt-BR" sz="1600" dirty="0"/>
              <a:t>45. Utilizo os resultados das avaliações para rever minha prática pedagógica.</a:t>
            </a:r>
          </a:p>
          <a:p>
            <a:pPr lvl="2"/>
            <a:r>
              <a:rPr lang="pt-BR" sz="1600" dirty="0"/>
              <a:t>48. Ensino o mesmo assunto de várias maneiras, se for necessário, para que todos aprendam.                                                                           </a:t>
            </a:r>
          </a:p>
          <a:p>
            <a:pPr lvl="2"/>
            <a:r>
              <a:rPr lang="pt-BR" sz="1600" dirty="0"/>
              <a:t>49. Sinto-me responsável pela aprendizagem dos alunos.</a:t>
            </a:r>
          </a:p>
          <a:p>
            <a:pPr lvl="2"/>
            <a:r>
              <a:rPr lang="pt-BR" sz="1600" dirty="0"/>
              <a:t>50. As minhas aulas são sempre planejadas.                                                     </a:t>
            </a:r>
          </a:p>
          <a:p>
            <a:pPr lvl="2"/>
            <a:r>
              <a:rPr lang="pt-BR" sz="1600" dirty="0"/>
              <a:t>51. Procuro utilizar vários recursos para tornar as aulas mais atraentes.</a:t>
            </a:r>
          </a:p>
          <a:p>
            <a:pPr lvl="2"/>
            <a:r>
              <a:rPr lang="pt-BR" sz="1600" dirty="0"/>
              <a:t>52. Procuro passar trabalhos interessantes e desafiadores para os Alunos.</a:t>
            </a:r>
          </a:p>
          <a:p>
            <a:pPr lvl="2"/>
            <a:r>
              <a:rPr lang="pt-BR" sz="1600" dirty="0"/>
              <a:t>53. Sempre arrumo tempo para pesquisar novos assuntos para minhas aulas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4179" y="730777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27878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79512" y="260648"/>
            <a:ext cx="871296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professores</a:t>
            </a:r>
          </a:p>
          <a:p>
            <a:endParaRPr lang="pt-BR" sz="28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179512" y="1351508"/>
            <a:ext cx="8424936" cy="797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r>
              <a:rPr lang="pt-BR" sz="2000" b="1" dirty="0">
                <a:solidFill>
                  <a:srgbClr val="002060"/>
                </a:solidFill>
              </a:rPr>
              <a:t>Nível de comprometimento do gestor, na percepção do professor (</a:t>
            </a:r>
            <a:r>
              <a:rPr lang="pt-BR" sz="2000" b="1" dirty="0" err="1">
                <a:solidFill>
                  <a:srgbClr val="002060"/>
                </a:solidFill>
              </a:rPr>
              <a:t>NCGes_P</a:t>
            </a:r>
            <a:r>
              <a:rPr lang="pt-BR" sz="2000" b="1" dirty="0" smtClean="0">
                <a:solidFill>
                  <a:srgbClr val="002060"/>
                </a:solidFill>
              </a:rPr>
              <a:t>)</a:t>
            </a:r>
          </a:p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endParaRPr lang="pt-BR" sz="2000" dirty="0"/>
          </a:p>
        </p:txBody>
      </p:sp>
      <p:sp>
        <p:nvSpPr>
          <p:cNvPr id="4" name="Retângulo 3"/>
          <p:cNvSpPr/>
          <p:nvPr/>
        </p:nvSpPr>
        <p:spPr>
          <a:xfrm>
            <a:off x="323528" y="2303460"/>
            <a:ext cx="813690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04000" lvl="2"/>
            <a:r>
              <a:rPr lang="pt-BR" dirty="0"/>
              <a:t>65. O diálogo e a participação de outros atores escolares não são valorizados pela gestão desta escola.</a:t>
            </a:r>
          </a:p>
          <a:p>
            <a:pPr marL="504000" lvl="2"/>
            <a:r>
              <a:rPr lang="pt-BR" dirty="0"/>
              <a:t>66. O gestor desta escola só toma suas decisões depois de ouvir outros atores envolvidos com a escola.  </a:t>
            </a:r>
          </a:p>
          <a:p>
            <a:pPr marL="504000" lvl="2"/>
            <a:r>
              <a:rPr lang="pt-BR" dirty="0"/>
              <a:t>67. O planejamento anual das atividades é feito coletivamente.</a:t>
            </a:r>
          </a:p>
          <a:p>
            <a:pPr marL="504000" lvl="2"/>
            <a:r>
              <a:rPr lang="pt-BR" dirty="0"/>
              <a:t>68. O diretor desta escola tem por hábito consultar o Colegiado da Escola e ouvir as pessoas interessadas pelas questões da escola.</a:t>
            </a:r>
          </a:p>
          <a:p>
            <a:pPr marL="504000" lvl="2"/>
            <a:r>
              <a:rPr lang="pt-BR" dirty="0"/>
              <a:t>69. É obrigação da direção da escola prestar contas de todos os resultados, decisões e providências da escola.                  </a:t>
            </a:r>
          </a:p>
          <a:p>
            <a:pPr marL="504000" lvl="2"/>
            <a:r>
              <a:rPr lang="pt-BR" dirty="0"/>
              <a:t>70. A equipe gestora informa e incentiva a informação aos pais sobre o desempenho dos estudantes.</a:t>
            </a:r>
          </a:p>
        </p:txBody>
      </p:sp>
      <p:grpSp>
        <p:nvGrpSpPr>
          <p:cNvPr id="5" name="Grupo 4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6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3945143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539552" y="404664"/>
            <a:ext cx="82809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professores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539552" y="1428106"/>
            <a:ext cx="8280920" cy="4149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r>
              <a:rPr lang="pt-BR" sz="2000" b="1" dirty="0">
                <a:solidFill>
                  <a:srgbClr val="002060"/>
                </a:solidFill>
              </a:rPr>
              <a:t>Nível de satisfação do professor (NSP_P</a:t>
            </a:r>
            <a:r>
              <a:rPr lang="pt-BR" sz="2000" b="1" dirty="0" smtClean="0">
                <a:solidFill>
                  <a:srgbClr val="002060"/>
                </a:solidFill>
              </a:rPr>
              <a:t>)</a:t>
            </a:r>
          </a:p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endParaRPr lang="pt-BR" sz="2400" b="1" dirty="0"/>
          </a:p>
          <a:p>
            <a:pPr marL="540000" lvl="2"/>
            <a:r>
              <a:rPr lang="pt-BR" dirty="0" smtClean="0"/>
              <a:t>14</a:t>
            </a:r>
            <a:r>
              <a:rPr lang="pt-BR" dirty="0"/>
              <a:t>. Gostaria de continuar lecionando nesta escola.</a:t>
            </a:r>
          </a:p>
          <a:p>
            <a:pPr marL="540000" lvl="2"/>
            <a:r>
              <a:rPr lang="pt-BR" dirty="0"/>
              <a:t>15. Considero meu trabalho importante  para o desenvolvimento desta escola.</a:t>
            </a:r>
          </a:p>
          <a:p>
            <a:pPr marL="540000" lvl="2"/>
            <a:r>
              <a:rPr lang="pt-BR" dirty="0"/>
              <a:t>16. Eu me sinto gratificado(a) pela carreira que escolhi.</a:t>
            </a:r>
          </a:p>
          <a:p>
            <a:pPr marL="540000" lvl="2"/>
            <a:r>
              <a:rPr lang="pt-BR" dirty="0"/>
              <a:t>17. A experiência nesta escola me faz crescer profissionalmente.</a:t>
            </a:r>
          </a:p>
          <a:p>
            <a:pPr marL="540000" lvl="2"/>
            <a:r>
              <a:rPr lang="pt-BR" dirty="0"/>
              <a:t>18. Apoiaria meu filho se ele quisesse ser professor.</a:t>
            </a:r>
          </a:p>
          <a:p>
            <a:pPr marL="540000" lvl="2"/>
            <a:r>
              <a:rPr lang="pt-BR" dirty="0"/>
              <a:t>30. Sinto que sou valorizado(a) nesta escola.</a:t>
            </a:r>
          </a:p>
          <a:p>
            <a:pPr marL="540000" lvl="2"/>
            <a:r>
              <a:rPr lang="pt-BR" dirty="0"/>
              <a:t>31. Gosto de fazer parte da equipe desta escola.</a:t>
            </a:r>
          </a:p>
          <a:p>
            <a:pPr marL="540000" lvl="2"/>
            <a:r>
              <a:rPr lang="pt-BR" dirty="0"/>
              <a:t>32. Gosto de trabalhar nesta escola.</a:t>
            </a:r>
          </a:p>
          <a:p>
            <a:pPr marL="540000" lvl="2"/>
            <a:r>
              <a:rPr lang="pt-BR" dirty="0"/>
              <a:t>33. Eu me sinto cheio(a) de energia e animado(a) na escola.</a:t>
            </a:r>
          </a:p>
          <a:p>
            <a:pPr marL="540000" lvl="2"/>
            <a:r>
              <a:rPr lang="pt-BR" dirty="0"/>
              <a:t>34. Gosto de ir para a escola.</a:t>
            </a:r>
          </a:p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endParaRPr lang="pt-BR" sz="2400" b="1" dirty="0"/>
          </a:p>
        </p:txBody>
      </p:sp>
      <p:grpSp>
        <p:nvGrpSpPr>
          <p:cNvPr id="5" name="Grupo 4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6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108794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336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79512" y="404664"/>
            <a:ext cx="84969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diretores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827584" y="1700808"/>
            <a:ext cx="6174432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Se o diretor tem Pós-Gradu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Se o diretor também é profes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Se o diretor exerce atividade fora do magistério</a:t>
            </a:r>
          </a:p>
          <a:p>
            <a:pPr lvl="1"/>
            <a:endParaRPr lang="pt-BR" dirty="0" smtClean="0"/>
          </a:p>
          <a:p>
            <a:pPr lvl="1"/>
            <a:r>
              <a:rPr lang="pt-BR" sz="2400" b="1" dirty="0" smtClean="0">
                <a:solidFill>
                  <a:srgbClr val="FF0000"/>
                </a:solidFill>
              </a:rPr>
              <a:t>Três </a:t>
            </a:r>
            <a:r>
              <a:rPr lang="pt-BR" sz="2400" b="1" dirty="0">
                <a:solidFill>
                  <a:srgbClr val="FF0000"/>
                </a:solidFill>
              </a:rPr>
              <a:t>variáveis indicadoras (tipo </a:t>
            </a:r>
            <a:r>
              <a:rPr lang="pt-BR" sz="2400" b="1" i="1" dirty="0">
                <a:solidFill>
                  <a:srgbClr val="FF0000"/>
                </a:solidFill>
              </a:rPr>
              <a:t>sim-não</a:t>
            </a:r>
            <a:r>
              <a:rPr lang="pt-BR" sz="2400" b="1" dirty="0">
                <a:solidFill>
                  <a:srgbClr val="FF0000"/>
                </a:solidFill>
              </a:rPr>
              <a:t>) </a:t>
            </a:r>
          </a:p>
          <a:p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1358771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398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3" name="CaixaDeTexto 12"/>
          <p:cNvSpPr txBox="1"/>
          <p:nvPr/>
        </p:nvSpPr>
        <p:spPr>
          <a:xfrm>
            <a:off x="1619672" y="404664"/>
            <a:ext cx="561662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2060"/>
                </a:solidFill>
              </a:rPr>
              <a:t>DEPÊNDENCIA ADMINISTRATIVA: Urbana x Rural</a:t>
            </a:r>
          </a:p>
          <a:p>
            <a:pPr algn="ctr"/>
            <a:r>
              <a:rPr lang="pt-BR" dirty="0" smtClean="0">
                <a:solidFill>
                  <a:srgbClr val="002060"/>
                </a:solidFill>
              </a:rPr>
              <a:t>Média de Proficiência em Matemática</a:t>
            </a:r>
            <a:endParaRPr lang="pt-BR" dirty="0">
              <a:solidFill>
                <a:srgbClr val="002060"/>
              </a:solidFill>
            </a:endParaRPr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623506"/>
              </p:ext>
            </p:extLst>
          </p:nvPr>
        </p:nvGraphicFramePr>
        <p:xfrm>
          <a:off x="324480" y="1345916"/>
          <a:ext cx="8351976" cy="4027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20359969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323528" y="476672"/>
            <a:ext cx="842493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diretores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167729" y="1556792"/>
            <a:ext cx="8424936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r>
              <a:rPr lang="pt-BR" sz="2000" b="1" dirty="0">
                <a:solidFill>
                  <a:srgbClr val="002060"/>
                </a:solidFill>
              </a:rPr>
              <a:t>Nível de satisfação dos diretores (NS_D) </a:t>
            </a:r>
          </a:p>
          <a:p>
            <a:pPr lvl="1"/>
            <a:endParaRPr lang="pt-BR" sz="3200" dirty="0"/>
          </a:p>
          <a:p>
            <a:pPr lvl="2"/>
            <a:r>
              <a:rPr lang="pt-BR" dirty="0" smtClean="0"/>
              <a:t>9</a:t>
            </a:r>
            <a:r>
              <a:rPr lang="pt-BR" dirty="0"/>
              <a:t>.  Foi uma decisão acertada ter me candidatado a diretor(a) desta escola.</a:t>
            </a:r>
          </a:p>
          <a:p>
            <a:pPr lvl="2"/>
            <a:r>
              <a:rPr lang="pt-BR" dirty="0"/>
              <a:t>10. Considero meu trabalho importante para o desenvolvimento desta escola.</a:t>
            </a:r>
          </a:p>
          <a:p>
            <a:pPr lvl="2"/>
            <a:r>
              <a:rPr lang="pt-BR" dirty="0"/>
              <a:t>11. Ser diretor(a) de escola é gratificante.</a:t>
            </a:r>
          </a:p>
          <a:p>
            <a:pPr lvl="2"/>
            <a:r>
              <a:rPr lang="pt-BR" dirty="0"/>
              <a:t>12. A experiência como diretor(a) desta escola me faz crescer profissionalmente. </a:t>
            </a:r>
          </a:p>
          <a:p>
            <a:pPr lvl="2"/>
            <a:r>
              <a:rPr lang="pt-BR" dirty="0"/>
              <a:t>13. A escola em que trabalho é acolhedora.</a:t>
            </a:r>
          </a:p>
          <a:p>
            <a:pPr lvl="2"/>
            <a:r>
              <a:rPr lang="pt-BR" dirty="0"/>
              <a:t>14. Gosto de trabalhar nesta escola.</a:t>
            </a:r>
          </a:p>
          <a:p>
            <a:pPr lvl="2"/>
            <a:r>
              <a:rPr lang="pt-BR" dirty="0"/>
              <a:t>15. Eu me sinto cheio(a) de energia e animado(a) na escola.</a:t>
            </a:r>
          </a:p>
          <a:p>
            <a:pPr lvl="2"/>
            <a:r>
              <a:rPr lang="pt-BR" dirty="0"/>
              <a:t>16. Gosto de ir para a escola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90811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02214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683568" y="404664"/>
            <a:ext cx="799288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Medidas baseadas nos questionários respondidos pelos </a:t>
            </a: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diretores</a:t>
            </a:r>
          </a:p>
          <a:p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23528" y="1381986"/>
            <a:ext cx="8496944" cy="5229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endParaRPr lang="pt-BR" sz="2000" b="1" dirty="0" smtClean="0"/>
          </a:p>
          <a:p>
            <a:pPr marL="0" lvl="1">
              <a:spcBef>
                <a:spcPts val="700"/>
              </a:spcBef>
              <a:buClr>
                <a:schemeClr val="accent2"/>
              </a:buClr>
              <a:buSzPct val="60000"/>
            </a:pPr>
            <a:r>
              <a:rPr lang="pt-BR" sz="2000" b="1" dirty="0" smtClean="0">
                <a:solidFill>
                  <a:srgbClr val="002060"/>
                </a:solidFill>
              </a:rPr>
              <a:t>Nível </a:t>
            </a:r>
            <a:r>
              <a:rPr lang="pt-BR" sz="2000" b="1" dirty="0">
                <a:solidFill>
                  <a:srgbClr val="002060"/>
                </a:solidFill>
              </a:rPr>
              <a:t>de participação e de interação dos agentes escolares (NPIAE_D) </a:t>
            </a:r>
          </a:p>
          <a:p>
            <a:pPr lvl="1"/>
            <a:endParaRPr lang="pt-BR" sz="3200" dirty="0"/>
          </a:p>
          <a:p>
            <a:pPr marL="360000" lvl="2"/>
            <a:r>
              <a:rPr lang="pt-BR" sz="1600" dirty="0" smtClean="0"/>
              <a:t>17</a:t>
            </a:r>
            <a:r>
              <a:rPr lang="pt-BR" sz="1600" dirty="0"/>
              <a:t>. Os professores me apoiam no cumprimento das regras da escola.</a:t>
            </a:r>
          </a:p>
          <a:p>
            <a:pPr marL="360000" lvl="2"/>
            <a:r>
              <a:rPr lang="pt-BR" sz="1600" dirty="0"/>
              <a:t>18. Os professores desta escola fazem esforço para interagir com a Comunidade.</a:t>
            </a:r>
          </a:p>
          <a:p>
            <a:pPr marL="360000" lvl="2"/>
            <a:r>
              <a:rPr lang="pt-BR" sz="1600" dirty="0"/>
              <a:t>20. Os professores trabalham juntos e cooperam uns com os outros.</a:t>
            </a:r>
          </a:p>
          <a:p>
            <a:pPr marL="360000" lvl="2"/>
            <a:r>
              <a:rPr lang="pt-BR" sz="1600" dirty="0"/>
              <a:t>22. As transgressões às normas de funcionamento e convivência da escola são resolvidas na própria escola.</a:t>
            </a:r>
          </a:p>
          <a:p>
            <a:pPr marL="360000" lvl="2"/>
            <a:r>
              <a:rPr lang="pt-BR" sz="1600" dirty="0"/>
              <a:t>23. A escola tem vários parceiros que ajudam a manter um atendimento de qualidade aos alunos.</a:t>
            </a:r>
          </a:p>
          <a:p>
            <a:pPr marL="360000" lvl="2"/>
            <a:r>
              <a:rPr lang="pt-BR" sz="1600" dirty="0"/>
              <a:t>24. Tenho por norma consultar o Conselho da Escola e ouvir as pessoas sobre as questões da escola.</a:t>
            </a:r>
          </a:p>
          <a:p>
            <a:pPr marL="360000" lvl="2"/>
            <a:r>
              <a:rPr lang="pt-BR" sz="1600" dirty="0"/>
              <a:t>25. O diálogo e a participação da comunidade é a melhor maneira de proteger a escola.</a:t>
            </a:r>
          </a:p>
          <a:p>
            <a:pPr marL="360000" lvl="2"/>
            <a:r>
              <a:rPr lang="pt-BR" sz="1600" dirty="0"/>
              <a:t>27. Tenho o hábito de informar aos pais ou responsáveis sobre o desempenho dos alunos.</a:t>
            </a:r>
          </a:p>
          <a:p>
            <a:pPr marL="360000" lvl="2"/>
            <a:r>
              <a:rPr lang="pt-BR" sz="1600" dirty="0"/>
              <a:t>28. Atendo pais de alunos para tratar de problemas disciplinares e de aprendizagem de seus filhos.</a:t>
            </a:r>
          </a:p>
          <a:p>
            <a:pPr marL="360000" lvl="2"/>
            <a:r>
              <a:rPr lang="pt-BR" sz="1600" dirty="0"/>
              <a:t>29. A permanência do aluno mais tempo na escola é incentivada promovendo ações de seu interesse.</a:t>
            </a:r>
          </a:p>
          <a:p>
            <a:pPr marL="360000" lvl="2"/>
            <a:r>
              <a:rPr lang="pt-BR" sz="1600" dirty="0"/>
              <a:t>30. O planejamento anual das atividades é feito coletivamente.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820" y="1097161"/>
            <a:ext cx="710644" cy="793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773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39552" y="404664"/>
            <a:ext cx="7992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Medidas baseadas nos questionários de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escola (infraestrutura)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1978701" y="2276872"/>
            <a:ext cx="4572000" cy="150810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Indicador de pichaçã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800" dirty="0"/>
              <a:t>Indicador de depredação</a:t>
            </a:r>
          </a:p>
          <a:p>
            <a:endParaRPr lang="pt-BR" dirty="0"/>
          </a:p>
          <a:p>
            <a:pPr lvl="1"/>
            <a:r>
              <a:rPr lang="pt-BR" dirty="0"/>
              <a:t>Duas variáveis indicadoras (tipo </a:t>
            </a:r>
            <a:r>
              <a:rPr lang="pt-BR" i="1" dirty="0"/>
              <a:t>sim-não</a:t>
            </a:r>
            <a:r>
              <a:rPr lang="pt-BR" dirty="0"/>
              <a:t>)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339" y="1090811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078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39552" y="548680"/>
            <a:ext cx="82809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Medidas baseadas nos questionários de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escola (infraestrutura)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83568" y="1628800"/>
            <a:ext cx="7632848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/>
              <a:t>Nível de Estrutura Predial da Escola (NEP_E)</a:t>
            </a:r>
          </a:p>
          <a:p>
            <a:pPr lvl="2"/>
            <a:endParaRPr lang="pt-BR" sz="1600" dirty="0" smtClean="0"/>
          </a:p>
          <a:p>
            <a:pPr lvl="2"/>
            <a:r>
              <a:rPr lang="pt-BR" sz="1600" dirty="0" smtClean="0"/>
              <a:t>02</a:t>
            </a:r>
            <a:r>
              <a:rPr lang="pt-BR" sz="1600" dirty="0"/>
              <a:t>. Telhado.</a:t>
            </a:r>
          </a:p>
          <a:p>
            <a:pPr lvl="2"/>
            <a:r>
              <a:rPr lang="pt-BR" dirty="0"/>
              <a:t>03. Paredes internas.</a:t>
            </a:r>
          </a:p>
          <a:p>
            <a:pPr lvl="2"/>
            <a:r>
              <a:rPr lang="pt-BR" dirty="0"/>
              <a:t>04. Piso.</a:t>
            </a:r>
          </a:p>
          <a:p>
            <a:pPr lvl="2"/>
            <a:r>
              <a:rPr lang="pt-BR" dirty="0"/>
              <a:t>05. Portas.</a:t>
            </a:r>
          </a:p>
          <a:p>
            <a:pPr lvl="2"/>
            <a:r>
              <a:rPr lang="pt-BR" dirty="0"/>
              <a:t>06. Janelas.</a:t>
            </a:r>
          </a:p>
          <a:p>
            <a:pPr lvl="2"/>
            <a:r>
              <a:rPr lang="pt-BR" dirty="0"/>
              <a:t>07. Banheiros.</a:t>
            </a:r>
          </a:p>
          <a:p>
            <a:pPr lvl="2"/>
            <a:r>
              <a:rPr lang="pt-BR" dirty="0"/>
              <a:t>08. Cozinha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5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41" y="148541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951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683568" y="476672"/>
            <a:ext cx="77048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Indicadores extraídos do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Censo Escolar 2013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6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9" name="Retângulo 8"/>
          <p:cNvSpPr/>
          <p:nvPr/>
        </p:nvSpPr>
        <p:spPr>
          <a:xfrm>
            <a:off x="167729" y="1700808"/>
            <a:ext cx="872475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2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pt-BR" sz="2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 smtClean="0"/>
              <a:t>se </a:t>
            </a:r>
            <a:r>
              <a:rPr lang="pt-BR" sz="2400" dirty="0"/>
              <a:t>a escola é rural (1 = rural, 0 = urbana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se a escola é estadual (1 = estadual, 0 = municip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se a escola é capital (1 = Belém, 0 = outras cidad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número de computadores totais por 100 alunos matriculados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2754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39552" y="404664"/>
            <a:ext cx="37771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3200" dirty="0">
                <a:solidFill>
                  <a:schemeClr val="tx2">
                    <a:lumMod val="75000"/>
                  </a:schemeClr>
                </a:solidFill>
              </a:rPr>
              <a:t>Modelo de Regressão</a:t>
            </a:r>
          </a:p>
        </p:txBody>
      </p:sp>
      <p:sp>
        <p:nvSpPr>
          <p:cNvPr id="3" name="Retângulo 2"/>
          <p:cNvSpPr/>
          <p:nvPr/>
        </p:nvSpPr>
        <p:spPr>
          <a:xfrm>
            <a:off x="395536" y="836712"/>
            <a:ext cx="8208912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000" dirty="0" smtClean="0"/>
          </a:p>
          <a:p>
            <a:r>
              <a:rPr lang="pt-BR" sz="2000" dirty="0" smtClean="0"/>
              <a:t>Sejam</a:t>
            </a:r>
            <a:r>
              <a:rPr lang="pt-BR" sz="2000" dirty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Y a proficiência média dos alunos de uma escola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X</a:t>
            </a:r>
            <a:r>
              <a:rPr lang="pt-BR" baseline="-25000" dirty="0"/>
              <a:t>1</a:t>
            </a:r>
            <a:r>
              <a:rPr lang="pt-BR" dirty="0"/>
              <a:t> o primeiro fator associado relativo a escola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pt-BR" dirty="0"/>
              <a:t>X</a:t>
            </a:r>
            <a:r>
              <a:rPr lang="pt-BR" baseline="-25000" dirty="0"/>
              <a:t>2</a:t>
            </a:r>
            <a:r>
              <a:rPr lang="pt-BR" dirty="0"/>
              <a:t> o segundo fator associado relativo a escola;</a:t>
            </a:r>
          </a:p>
          <a:p>
            <a:pPr lvl="1"/>
            <a:endParaRPr lang="pt-BR" dirty="0" smtClean="0"/>
          </a:p>
          <a:p>
            <a:pPr lvl="1"/>
            <a:r>
              <a:rPr lang="pt-BR" dirty="0" smtClean="0"/>
              <a:t>e </a:t>
            </a:r>
            <a:r>
              <a:rPr lang="pt-BR" dirty="0"/>
              <a:t>assim por diante.</a:t>
            </a:r>
          </a:p>
          <a:p>
            <a:endParaRPr lang="pt-BR" sz="2000" dirty="0" smtClean="0"/>
          </a:p>
          <a:p>
            <a:r>
              <a:rPr lang="pt-BR" sz="2000" dirty="0" smtClean="0"/>
              <a:t>para </a:t>
            </a:r>
            <a:r>
              <a:rPr lang="pt-BR" sz="2000" dirty="0"/>
              <a:t>uma dada escola i, tem-se</a:t>
            </a:r>
            <a:r>
              <a:rPr lang="pt-BR" sz="2000" dirty="0" smtClean="0"/>
              <a:t>:</a:t>
            </a:r>
          </a:p>
          <a:p>
            <a:endParaRPr lang="pt-BR" sz="2000" dirty="0"/>
          </a:p>
          <a:p>
            <a:r>
              <a:rPr lang="es-ES_tradnl" sz="2800" dirty="0" err="1" smtClean="0">
                <a:solidFill>
                  <a:schemeClr val="tx2">
                    <a:lumMod val="75000"/>
                  </a:schemeClr>
                </a:solidFill>
              </a:rPr>
              <a:t>Y</a:t>
            </a:r>
            <a:r>
              <a:rPr lang="es-ES_tradnl" sz="2800" baseline="-25000" dirty="0" err="1" smtClean="0">
                <a:solidFill>
                  <a:schemeClr val="tx2">
                    <a:lumMod val="75000"/>
                  </a:schemeClr>
                </a:solidFill>
              </a:rPr>
              <a:t>i</a:t>
            </a:r>
            <a:r>
              <a:rPr lang="es-ES_tradnl" sz="2800" baseline="-2500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=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  <a:sym typeface="Symbol"/>
              </a:rPr>
              <a:t>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 + </a:t>
            </a:r>
            <a:r>
              <a:rPr lang="pt-BR" sz="2800" dirty="0">
                <a:solidFill>
                  <a:srgbClr val="FF0000"/>
                </a:solidFill>
                <a:sym typeface="Symbol"/>
              </a:rPr>
              <a:t></a:t>
            </a:r>
            <a:r>
              <a:rPr lang="es-ES_tradnl" sz="2800" baseline="-25000" dirty="0">
                <a:solidFill>
                  <a:srgbClr val="FF0000"/>
                </a:solidFill>
              </a:rPr>
              <a:t>1</a:t>
            </a:r>
            <a:r>
              <a:rPr lang="es-ES_tradnl" sz="2800" baseline="-250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X</a:t>
            </a:r>
            <a:r>
              <a:rPr lang="es-ES_tradnl" sz="2800" baseline="-25000" dirty="0">
                <a:solidFill>
                  <a:schemeClr val="tx2">
                    <a:lumMod val="75000"/>
                  </a:schemeClr>
                </a:solidFill>
              </a:rPr>
              <a:t>1i 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+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  <a:sym typeface="Symbol"/>
              </a:rPr>
              <a:t></a:t>
            </a:r>
            <a:r>
              <a:rPr lang="es-ES_tradnl" sz="2800" baseline="-25000" dirty="0">
                <a:solidFill>
                  <a:schemeClr val="tx2">
                    <a:lumMod val="75000"/>
                  </a:schemeClr>
                </a:solidFill>
              </a:rPr>
              <a:t>2 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X</a:t>
            </a:r>
            <a:r>
              <a:rPr lang="es-ES_tradnl" sz="2800" baseline="-25000" dirty="0">
                <a:solidFill>
                  <a:schemeClr val="tx2">
                    <a:lumMod val="75000"/>
                  </a:schemeClr>
                </a:solidFill>
              </a:rPr>
              <a:t>2i  </a:t>
            </a:r>
            <a:r>
              <a:rPr lang="es-ES_tradnl" sz="2800" dirty="0">
                <a:solidFill>
                  <a:schemeClr val="tx2">
                    <a:lumMod val="75000"/>
                  </a:schemeClr>
                </a:solidFill>
              </a:rPr>
              <a:t>+ ...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+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  <a:sym typeface="Symbol"/>
              </a:rPr>
              <a:t></a:t>
            </a:r>
            <a:r>
              <a:rPr lang="pt-BR" sz="2800" baseline="-25000" dirty="0">
                <a:solidFill>
                  <a:schemeClr val="tx2">
                    <a:lumMod val="75000"/>
                  </a:schemeClr>
                </a:solidFill>
              </a:rPr>
              <a:t>k </a:t>
            </a:r>
            <a:r>
              <a:rPr lang="pt-BR" sz="2800" dirty="0" err="1">
                <a:solidFill>
                  <a:schemeClr val="tx2">
                    <a:lumMod val="75000"/>
                  </a:schemeClr>
                </a:solidFill>
              </a:rPr>
              <a:t>X</a:t>
            </a:r>
            <a:r>
              <a:rPr lang="pt-BR" sz="2800" baseline="-25000" dirty="0" err="1">
                <a:solidFill>
                  <a:schemeClr val="tx2">
                    <a:lumMod val="75000"/>
                  </a:schemeClr>
                </a:solidFill>
              </a:rPr>
              <a:t>ki</a:t>
            </a:r>
            <a:r>
              <a:rPr lang="pt-BR" sz="2800" baseline="-250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+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  <a:sym typeface="Symbol"/>
              </a:rPr>
              <a:t></a:t>
            </a:r>
            <a:r>
              <a:rPr lang="pt-BR" sz="2800" baseline="-25000" dirty="0">
                <a:solidFill>
                  <a:schemeClr val="tx2">
                    <a:lumMod val="75000"/>
                  </a:schemeClr>
                </a:solidFill>
              </a:rPr>
              <a:t>i </a:t>
            </a:r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     (i = 1, 2, ..., n</a:t>
            </a:r>
            <a:r>
              <a:rPr lang="pt-BR" sz="2800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</a:p>
          <a:p>
            <a:endParaRPr lang="pt-BR" sz="2000" dirty="0"/>
          </a:p>
          <a:p>
            <a:r>
              <a:rPr lang="pt-BR" sz="2000" dirty="0"/>
              <a:t>onde o termo </a:t>
            </a:r>
            <a:r>
              <a:rPr lang="pt-BR" sz="2000" dirty="0">
                <a:sym typeface="Symbol"/>
              </a:rPr>
              <a:t></a:t>
            </a:r>
            <a:r>
              <a:rPr lang="pt-BR" sz="2000" i="1" dirty="0"/>
              <a:t> </a:t>
            </a:r>
            <a:r>
              <a:rPr lang="pt-BR" sz="2000" dirty="0"/>
              <a:t>representa o efeito de uma infinidade de outros fatores que podem estar afetando a proficiência, o termo </a:t>
            </a:r>
            <a:r>
              <a:rPr lang="pt-BR" sz="2000" i="1" dirty="0"/>
              <a:t>aleatório</a:t>
            </a:r>
            <a:r>
              <a:rPr lang="pt-BR" sz="2000" dirty="0"/>
              <a:t> do modelo.</a:t>
            </a:r>
          </a:p>
          <a:p>
            <a:endParaRPr lang="pt-BR" sz="2000" dirty="0" smtClean="0"/>
          </a:p>
          <a:p>
            <a:r>
              <a:rPr lang="pt-BR" sz="2000" dirty="0" smtClean="0"/>
              <a:t>Os </a:t>
            </a:r>
            <a:r>
              <a:rPr lang="pt-BR" sz="2000" dirty="0">
                <a:solidFill>
                  <a:srgbClr val="FF0000"/>
                </a:solidFill>
                <a:sym typeface="Symbol"/>
              </a:rPr>
              <a:t>’s </a:t>
            </a:r>
            <a:r>
              <a:rPr lang="pt-BR" sz="2000" dirty="0">
                <a:sym typeface="Symbol"/>
              </a:rPr>
              <a:t>são estimados pelos dados e representam a influência de cada fator no desempenho. Observa-se que a magnitude das estimativas dos ’s não só está associado à força da relação, mas também às unidades de medida das variáveis.</a:t>
            </a:r>
            <a:endParaRPr lang="pt-BR" sz="2000" dirty="0"/>
          </a:p>
        </p:txBody>
      </p:sp>
      <p:pic>
        <p:nvPicPr>
          <p:cNvPr id="4" name="Picture 6" descr="logo_vunes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24328" y="340006"/>
            <a:ext cx="1494066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35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539552" y="404664"/>
            <a:ext cx="32612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Principais resultados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052736"/>
            <a:ext cx="7708696" cy="5577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38575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5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395536" y="332656"/>
            <a:ext cx="83529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Comentários dos fatores associados ao desempenho em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Língua Portuguesa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5273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tângulo 3"/>
          <p:cNvSpPr/>
          <p:nvPr/>
        </p:nvSpPr>
        <p:spPr>
          <a:xfrm>
            <a:off x="482622" y="2129411"/>
            <a:ext cx="8064896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As medidas de alunos (cinco últimas linhas da tabela do Slide anterior) são as que mais estão associadas ao desempenh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 Escola com mais alunos em defasagem escolar tende a ter desempenhos piores.</a:t>
            </a:r>
          </a:p>
          <a:p>
            <a:pPr lvl="1"/>
            <a:r>
              <a:rPr lang="pt-BR" sz="2000" i="1" dirty="0">
                <a:solidFill>
                  <a:schemeClr val="tx2">
                    <a:lumMod val="75000"/>
                  </a:schemeClr>
                </a:solidFill>
              </a:rPr>
              <a:t>Por ex., na 3ª série do EM, as escolas em que a média de defasagem de seus alunos é um ano maior, o seu desempenho médio tende a reduzir em 16,5 unidades na escala do Saeb/</a:t>
            </a:r>
            <a:r>
              <a:rPr lang="pt-BR" sz="2000" i="1" dirty="0" err="1">
                <a:solidFill>
                  <a:schemeClr val="tx2">
                    <a:lumMod val="75000"/>
                  </a:schemeClr>
                </a:solidFill>
              </a:rPr>
              <a:t>SisPAE</a:t>
            </a:r>
            <a:r>
              <a:rPr lang="pt-BR" sz="2000" i="1" dirty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Quanto melhor o Nível do Clima Escolar e o Nível de Relacionamento na Escola, ambos na percepção do aluno,  melhor é o desempenho do aluno</a:t>
            </a:r>
          </a:p>
        </p:txBody>
      </p:sp>
    </p:spTree>
    <p:extLst>
      <p:ext uri="{BB962C8B-B14F-4D97-AF65-F5344CB8AC3E}">
        <p14:creationId xmlns:p14="http://schemas.microsoft.com/office/powerpoint/2010/main" val="1515349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395536" y="332656"/>
            <a:ext cx="849694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Comentários dos fatores associados ao desempenho em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Língua Portuguesa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492896"/>
            <a:ext cx="806489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/>
              <a:t>Relação “curiosa” no Nível de Satisfação dos Alunos. Tem efeito positivo no 4º e 5º ano e efeito negativo para séries mais avançadas, especialmente no 3º EM.</a:t>
            </a:r>
          </a:p>
          <a:p>
            <a:pPr lvl="1"/>
            <a:r>
              <a:rPr lang="pt-BR" sz="2000" i="1" dirty="0">
                <a:solidFill>
                  <a:schemeClr val="tx2">
                    <a:lumMod val="75000"/>
                  </a:schemeClr>
                </a:solidFill>
              </a:rPr>
              <a:t>Uma possível explicação para isto é que os melhores alunos de séries mais avançadas são mais críticos, em consequência, seus níveis de satisfação tendem a ser menores</a:t>
            </a:r>
            <a:r>
              <a:rPr lang="pt-BR" sz="2000" i="1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pt-BR" sz="2000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5273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6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9183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upo 3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Retângulo 7"/>
          <p:cNvSpPr/>
          <p:nvPr/>
        </p:nvSpPr>
        <p:spPr>
          <a:xfrm>
            <a:off x="188440" y="260648"/>
            <a:ext cx="854728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Comentários dos fatores associados ao desempenho em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Língua Portuguesa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188440" y="1720840"/>
            <a:ext cx="834400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dirty="0">
                <a:solidFill>
                  <a:srgbClr val="FF0000"/>
                </a:solidFill>
              </a:rPr>
              <a:t>Em relação as características  de escola e ambiente, verifica-se:</a:t>
            </a:r>
          </a:p>
          <a:p>
            <a:pPr marL="36000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Escolas rurais de 4º e 5º ano do EF apresentaram menor desempenho que as urbanas.</a:t>
            </a:r>
          </a:p>
          <a:p>
            <a:pPr marL="36000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No ensino elementar, escolas da rede estadual tendem a ter desempenho pior.</a:t>
            </a:r>
          </a:p>
          <a:p>
            <a:pPr marL="360000" lvl="1" indent="-285750">
              <a:buFont typeface="Arial" panose="020B0604020202020204" pitchFamily="34" charset="0"/>
              <a:buChar char="•"/>
            </a:pPr>
            <a:r>
              <a:rPr lang="pt-BR" sz="2400" dirty="0"/>
              <a:t>No 4º e 5º ano, o desempenho tende a ser pior nas escolas em que:</a:t>
            </a:r>
          </a:p>
          <a:p>
            <a:pPr marL="1714500" lvl="3" indent="-342900">
              <a:buFont typeface="Arial" panose="020B0604020202020204" pitchFamily="34" charset="0"/>
              <a:buChar char="•"/>
            </a:pPr>
            <a:r>
              <a:rPr lang="pt-BR" sz="2000" dirty="0"/>
              <a:t>Diretor não tem Pós-Graduação</a:t>
            </a:r>
          </a:p>
          <a:p>
            <a:pPr marL="1714500" lvl="3" indent="-342900">
              <a:buFont typeface="Arial" panose="020B0604020202020204" pitchFamily="34" charset="0"/>
              <a:buChar char="•"/>
            </a:pPr>
            <a:r>
              <a:rPr lang="pt-BR" sz="2000" dirty="0"/>
              <a:t>Diretor é também professor</a:t>
            </a:r>
          </a:p>
          <a:p>
            <a:pPr marL="1714500" lvl="3" indent="-342900">
              <a:buFont typeface="Arial" panose="020B0604020202020204" pitchFamily="34" charset="0"/>
              <a:buChar char="•"/>
            </a:pPr>
            <a:r>
              <a:rPr lang="pt-BR" sz="2000" dirty="0"/>
              <a:t>Há professor sem curso superior</a:t>
            </a:r>
          </a:p>
        </p:txBody>
      </p:sp>
    </p:spTree>
    <p:extLst>
      <p:ext uri="{BB962C8B-B14F-4D97-AF65-F5344CB8AC3E}">
        <p14:creationId xmlns:p14="http://schemas.microsoft.com/office/powerpoint/2010/main" val="2214404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3" name="CaixaDeTexto 12"/>
          <p:cNvSpPr txBox="1"/>
          <p:nvPr/>
        </p:nvSpPr>
        <p:spPr>
          <a:xfrm>
            <a:off x="1619672" y="404664"/>
            <a:ext cx="561662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2060"/>
                </a:solidFill>
              </a:rPr>
              <a:t>DEPÊNDENCIA ADMINISTRATIVA: Urbana x Rural</a:t>
            </a:r>
          </a:p>
          <a:p>
            <a:pPr algn="ctr"/>
            <a:r>
              <a:rPr lang="pt-BR" sz="2000" dirty="0" smtClean="0">
                <a:solidFill>
                  <a:srgbClr val="002060"/>
                </a:solidFill>
              </a:rPr>
              <a:t>Número de alunos</a:t>
            </a:r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0539005"/>
              </p:ext>
            </p:extLst>
          </p:nvPr>
        </p:nvGraphicFramePr>
        <p:xfrm>
          <a:off x="311093" y="1233566"/>
          <a:ext cx="8351976" cy="3995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6065763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ângulo 8"/>
          <p:cNvSpPr/>
          <p:nvPr/>
        </p:nvSpPr>
        <p:spPr>
          <a:xfrm>
            <a:off x="178997" y="260648"/>
            <a:ext cx="855673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dirty="0">
                <a:solidFill>
                  <a:schemeClr val="tx2">
                    <a:lumMod val="75000"/>
                  </a:schemeClr>
                </a:solidFill>
              </a:rPr>
              <a:t>Comentários dos fatores associados ao desempenho em </a:t>
            </a:r>
            <a:r>
              <a:rPr lang="pt-BR" sz="2800" b="1" dirty="0">
                <a:solidFill>
                  <a:schemeClr val="tx2">
                    <a:lumMod val="75000"/>
                  </a:schemeClr>
                </a:solidFill>
              </a:rPr>
              <a:t>Matemática</a:t>
            </a:r>
            <a:endParaRPr lang="pt-BR" sz="2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1268760"/>
            <a:ext cx="7992888" cy="5359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22920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67" y="116632"/>
            <a:ext cx="9144000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Interação com a defasagem escolar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5º ano EF, Matemátic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1475655" y="2780927"/>
          <a:ext cx="7056784" cy="3456384"/>
        </p:xfrm>
        <a:graphic>
          <a:graphicData uri="http://schemas.openxmlformats.org/drawingml/2006/table">
            <a:tbl>
              <a:tblPr/>
              <a:tblGrid>
                <a:gridCol w="2657262"/>
                <a:gridCol w="958871"/>
                <a:gridCol w="1034075"/>
                <a:gridCol w="1203288"/>
                <a:gridCol w="1203288"/>
              </a:tblGrid>
              <a:tr h="258306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3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9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40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6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5273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155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7786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1600" y="1628800"/>
            <a:ext cx="6800800" cy="50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63" y="14127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673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Interação com a defasagem escolar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8ª série EF, Matemátic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1115616" y="2708920"/>
          <a:ext cx="6552729" cy="3528398"/>
        </p:xfrm>
        <a:graphic>
          <a:graphicData uri="http://schemas.openxmlformats.org/drawingml/2006/table">
            <a:tbl>
              <a:tblPr/>
              <a:tblGrid>
                <a:gridCol w="2467458"/>
                <a:gridCol w="890380"/>
                <a:gridCol w="960213"/>
                <a:gridCol w="1117339"/>
                <a:gridCol w="1117339"/>
              </a:tblGrid>
              <a:tr h="262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7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2753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546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2315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1628800"/>
            <a:ext cx="6872808" cy="50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48478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55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Interação com a defasagem escolar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3ª série do EM, Matemátic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1043608" y="2708920"/>
          <a:ext cx="6408712" cy="3555160"/>
        </p:xfrm>
        <a:graphic>
          <a:graphicData uri="http://schemas.openxmlformats.org/drawingml/2006/table">
            <a:tbl>
              <a:tblPr/>
              <a:tblGrid>
                <a:gridCol w="2413228"/>
                <a:gridCol w="870811"/>
                <a:gridCol w="939109"/>
                <a:gridCol w="1092782"/>
                <a:gridCol w="1092782"/>
              </a:tblGrid>
              <a:tr h="257390"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6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7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9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5134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7390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7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,9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8094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1700808"/>
            <a:ext cx="6368752" cy="49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595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8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67" y="116632"/>
            <a:ext cx="9144000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Interação com a defasagem escolar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5º ano EF, Língua Portugues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736629"/>
              </p:ext>
            </p:extLst>
          </p:nvPr>
        </p:nvGraphicFramePr>
        <p:xfrm>
          <a:off x="1259633" y="2780927"/>
          <a:ext cx="7272806" cy="3456384"/>
        </p:xfrm>
        <a:graphic>
          <a:graphicData uri="http://schemas.openxmlformats.org/drawingml/2006/table">
            <a:tbl>
              <a:tblPr/>
              <a:tblGrid>
                <a:gridCol w="2738606"/>
                <a:gridCol w="988224"/>
                <a:gridCol w="1065730"/>
                <a:gridCol w="1240123"/>
                <a:gridCol w="1240123"/>
              </a:tblGrid>
              <a:tr h="258306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0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1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49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1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98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7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2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8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5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9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9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4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8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5273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6721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595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81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965920"/>
            <a:ext cx="5616575" cy="434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7115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867" y="116632"/>
            <a:ext cx="9144000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chemeClr val="tx2">
                    <a:lumMod val="75000"/>
                  </a:schemeClr>
                </a:solidFill>
              </a:rPr>
              <a:t>Interação com a defasagem escolar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3ª série EM, Língua Portugues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2520376"/>
              </p:ext>
            </p:extLst>
          </p:nvPr>
        </p:nvGraphicFramePr>
        <p:xfrm>
          <a:off x="1259633" y="2780927"/>
          <a:ext cx="7272806" cy="3456384"/>
        </p:xfrm>
        <a:graphic>
          <a:graphicData uri="http://schemas.openxmlformats.org/drawingml/2006/table">
            <a:tbl>
              <a:tblPr/>
              <a:tblGrid>
                <a:gridCol w="2738606"/>
                <a:gridCol w="988224"/>
                <a:gridCol w="1065730"/>
                <a:gridCol w="1240123"/>
                <a:gridCol w="1240123"/>
              </a:tblGrid>
              <a:tr h="258306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3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3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0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8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7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7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5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8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7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4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1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46006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77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05273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5069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726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595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913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965920"/>
            <a:ext cx="5616575" cy="434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126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531352" cy="110872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pt-BR" sz="3600" b="1" dirty="0" smtClean="0">
                <a:solidFill>
                  <a:schemeClr val="tx2">
                    <a:lumMod val="75000"/>
                  </a:schemeClr>
                </a:solidFill>
              </a:rPr>
              <a:t>Interação com o Nível do Clima Escolar, na percepção do aluno</a:t>
            </a:r>
          </a:p>
          <a:p>
            <a:pPr marL="0" indent="0" algn="ctr">
              <a:buNone/>
            </a:pPr>
            <a:r>
              <a:rPr lang="pt-BR" sz="2600" b="1" dirty="0" smtClean="0">
                <a:solidFill>
                  <a:srgbClr val="00B050"/>
                </a:solidFill>
              </a:rPr>
              <a:t>5º ano EF, Matemática</a:t>
            </a:r>
            <a:endParaRPr lang="pt-BR" sz="26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261973"/>
              </p:ext>
            </p:extLst>
          </p:nvPr>
        </p:nvGraphicFramePr>
        <p:xfrm>
          <a:off x="1043608" y="2780927"/>
          <a:ext cx="6840761" cy="3621810"/>
        </p:xfrm>
        <a:graphic>
          <a:graphicData uri="http://schemas.openxmlformats.org/drawingml/2006/table">
            <a:tbl>
              <a:tblPr/>
              <a:tblGrid>
                <a:gridCol w="2280253"/>
                <a:gridCol w="1140127"/>
                <a:gridCol w="1140127"/>
                <a:gridCol w="1140127"/>
                <a:gridCol w="1140127"/>
              </a:tblGrid>
              <a:tr h="574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9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0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8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2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6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9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2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3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8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2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2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6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9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2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1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3477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40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0,1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1,6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,8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944" y="2132856"/>
            <a:ext cx="777982" cy="86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536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1196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43608" y="1556792"/>
            <a:ext cx="6728792" cy="5072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284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539552" y="1632943"/>
            <a:ext cx="806489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lvl="2">
              <a:lnSpc>
                <a:spcPct val="150000"/>
              </a:lnSpc>
            </a:pPr>
            <a:r>
              <a:rPr lang="pt-BR" dirty="0"/>
              <a:t>45. A escola é uma bagunça. Ficam muitos alunos do lado de fora da sala fazendo barulho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6. Quando alguém me ameaça ou agride, não adianta reclamar na direção. Tudo continua do mesmo jeito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7. A turma demora a fazer silêncio, depois que o(a) professor(a) entra em sala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8. Durante as aulas, há muito barulho e bagunça, o que atrapalha quem quer estudar.</a:t>
            </a:r>
          </a:p>
          <a:p>
            <a:pPr marL="180000" lvl="2">
              <a:lnSpc>
                <a:spcPct val="150000"/>
              </a:lnSpc>
            </a:pPr>
            <a:r>
              <a:rPr lang="pt-BR" dirty="0"/>
              <a:t>49. Por qualquer motivo, os alunos são colocados para fora da sala pelo Professor.</a:t>
            </a:r>
          </a:p>
        </p:txBody>
      </p:sp>
      <p:grpSp>
        <p:nvGrpSpPr>
          <p:cNvPr id="4" name="Grupo 3"/>
          <p:cNvGrpSpPr/>
          <p:nvPr/>
        </p:nvGrpSpPr>
        <p:grpSpPr>
          <a:xfrm>
            <a:off x="167729" y="5445312"/>
            <a:ext cx="856800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581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484784"/>
            <a:ext cx="8063808" cy="110872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sz="3300" b="1" dirty="0" smtClean="0">
                <a:solidFill>
                  <a:schemeClr val="tx2">
                    <a:lumMod val="75000"/>
                  </a:schemeClr>
                </a:solidFill>
              </a:rPr>
              <a:t>Interação com o Nível do Clima Escolar, na percepção do aluno </a:t>
            </a:r>
          </a:p>
          <a:p>
            <a:pPr marL="0" indent="0" algn="ctr">
              <a:buNone/>
            </a:pPr>
            <a:r>
              <a:rPr lang="pt-BR" sz="2400" b="1" dirty="0" smtClean="0">
                <a:solidFill>
                  <a:srgbClr val="00B050"/>
                </a:solidFill>
              </a:rPr>
              <a:t>8ª série EF, Matemática</a:t>
            </a:r>
            <a:endParaRPr lang="pt-BR" sz="24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835760"/>
              </p:ext>
            </p:extLst>
          </p:nvPr>
        </p:nvGraphicFramePr>
        <p:xfrm>
          <a:off x="1043608" y="2636912"/>
          <a:ext cx="6696744" cy="3973830"/>
        </p:xfrm>
        <a:graphic>
          <a:graphicData uri="http://schemas.openxmlformats.org/drawingml/2006/table">
            <a:tbl>
              <a:tblPr/>
              <a:tblGrid>
                <a:gridCol w="2232248"/>
                <a:gridCol w="1116124"/>
                <a:gridCol w="1116124"/>
                <a:gridCol w="1116124"/>
                <a:gridCol w="1116124"/>
              </a:tblGrid>
              <a:tr h="273477"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8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8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3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3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6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7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4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8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1,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1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3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6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5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3477">
                <a:tc>
                  <a:txBody>
                    <a:bodyPr/>
                    <a:lstStyle/>
                    <a:p>
                      <a:pPr algn="l" fontAlgn="t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7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0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1,0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,5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898" y="2348880"/>
            <a:ext cx="907027" cy="1012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823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1484784"/>
            <a:ext cx="7016824" cy="514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34076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480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8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484784"/>
            <a:ext cx="8531352" cy="110872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rgbClr val="002060"/>
                </a:solidFill>
              </a:rPr>
              <a:t>Interação com o Nível do Clima Escolar, na percepção do aluno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3ª série do EM, Matemátic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099234"/>
              </p:ext>
            </p:extLst>
          </p:nvPr>
        </p:nvGraphicFramePr>
        <p:xfrm>
          <a:off x="971600" y="2996952"/>
          <a:ext cx="6912768" cy="3528398"/>
        </p:xfrm>
        <a:graphic>
          <a:graphicData uri="http://schemas.openxmlformats.org/drawingml/2006/table">
            <a:tbl>
              <a:tblPr/>
              <a:tblGrid>
                <a:gridCol w="2304256"/>
                <a:gridCol w="1152128"/>
                <a:gridCol w="1152128"/>
                <a:gridCol w="1152128"/>
                <a:gridCol w="1152128"/>
              </a:tblGrid>
              <a:tr h="262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6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3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6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5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2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9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7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7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8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3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,6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6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6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1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2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-0,2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2753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0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0,2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0,7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,2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407" y="1988840"/>
            <a:ext cx="842505" cy="94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4407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9632" y="1484784"/>
            <a:ext cx="6768752" cy="514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8521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8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456184"/>
            <a:ext cx="8531352" cy="110872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rgbClr val="002060"/>
                </a:solidFill>
              </a:rPr>
              <a:t>Interação com o Nível do Clima Escolar, na percepção do aluno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5º ano EF, Língua Portugues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5101479"/>
              </p:ext>
            </p:extLst>
          </p:nvPr>
        </p:nvGraphicFramePr>
        <p:xfrm>
          <a:off x="971600" y="2996952"/>
          <a:ext cx="6912768" cy="3528398"/>
        </p:xfrm>
        <a:graphic>
          <a:graphicData uri="http://schemas.openxmlformats.org/drawingml/2006/table">
            <a:tbl>
              <a:tblPr/>
              <a:tblGrid>
                <a:gridCol w="2304256"/>
                <a:gridCol w="1152128"/>
                <a:gridCol w="1152128"/>
                <a:gridCol w="1152128"/>
                <a:gridCol w="1152128"/>
              </a:tblGrid>
              <a:tr h="262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0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01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3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4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07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94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5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4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9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07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0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04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2753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0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24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407" y="1988840"/>
            <a:ext cx="842505" cy="94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837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016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556792"/>
            <a:ext cx="561657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0765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sz="3200" dirty="0" smtClean="0">
                <a:solidFill>
                  <a:srgbClr val="002060"/>
                </a:solidFill>
              </a:rPr>
              <a:t>Médias de Proficiências </a:t>
            </a:r>
            <a:br>
              <a:rPr lang="pt-BR" sz="3200" dirty="0" smtClean="0">
                <a:solidFill>
                  <a:srgbClr val="002060"/>
                </a:solidFill>
              </a:rPr>
            </a:br>
            <a:r>
              <a:rPr lang="pt-BR" sz="2400" dirty="0" smtClean="0">
                <a:solidFill>
                  <a:srgbClr val="002060"/>
                </a:solidFill>
              </a:rPr>
              <a:t>Língua Portuguesa</a:t>
            </a:r>
            <a:endParaRPr lang="pt-BR" sz="2400" dirty="0">
              <a:solidFill>
                <a:srgbClr val="00206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906" y="404664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4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4400" y="1560513"/>
            <a:ext cx="7315200" cy="3741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9649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95852" y="116632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456184"/>
            <a:ext cx="8531352" cy="110872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t-BR" sz="2800" b="1" dirty="0" smtClean="0">
                <a:solidFill>
                  <a:srgbClr val="002060"/>
                </a:solidFill>
              </a:rPr>
              <a:t>Interação com o Nível do Clima Escolar, na percepção do aluno</a:t>
            </a:r>
          </a:p>
          <a:p>
            <a:pPr marL="0" indent="0" algn="ctr">
              <a:buNone/>
            </a:pPr>
            <a:r>
              <a:rPr lang="pt-BR" sz="2000" b="1" dirty="0" smtClean="0">
                <a:solidFill>
                  <a:srgbClr val="00B050"/>
                </a:solidFill>
              </a:rPr>
              <a:t>3ª série EM, Língua Portuguesa</a:t>
            </a:r>
            <a:endParaRPr lang="pt-BR" sz="2000" b="1" dirty="0">
              <a:solidFill>
                <a:srgbClr val="00B050"/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498577"/>
              </p:ext>
            </p:extLst>
          </p:nvPr>
        </p:nvGraphicFramePr>
        <p:xfrm>
          <a:off x="971600" y="2996952"/>
          <a:ext cx="6912768" cy="3528398"/>
        </p:xfrm>
        <a:graphic>
          <a:graphicData uri="http://schemas.openxmlformats.org/drawingml/2006/table">
            <a:tbl>
              <a:tblPr/>
              <a:tblGrid>
                <a:gridCol w="2304256"/>
                <a:gridCol w="1152128"/>
                <a:gridCol w="1152128"/>
                <a:gridCol w="1152128"/>
                <a:gridCol w="1152128"/>
              </a:tblGrid>
              <a:tr h="2627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36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4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1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5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3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9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89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6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87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7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6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3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3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50241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0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2753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2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,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407" y="1988840"/>
            <a:ext cx="842505" cy="94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087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118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381844"/>
            <a:ext cx="561657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8531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531352" cy="110872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sz="3200" b="1" dirty="0" smtClean="0">
                <a:solidFill>
                  <a:srgbClr val="002060"/>
                </a:solidFill>
              </a:rPr>
              <a:t>Interação com o </a:t>
            </a:r>
            <a:r>
              <a:rPr lang="pt-BR" sz="3200" b="1" dirty="0">
                <a:solidFill>
                  <a:srgbClr val="002060"/>
                </a:solidFill>
              </a:rPr>
              <a:t>C</a:t>
            </a:r>
            <a:r>
              <a:rPr lang="pt-BR" sz="3200" b="1" dirty="0" smtClean="0">
                <a:solidFill>
                  <a:srgbClr val="002060"/>
                </a:solidFill>
              </a:rPr>
              <a:t>omprometimento do Professor , na percepção do aluno</a:t>
            </a:r>
            <a:endParaRPr lang="pt-BR" b="1" dirty="0" smtClean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pt-BR" sz="2600" b="1" dirty="0" smtClean="0">
                <a:solidFill>
                  <a:srgbClr val="00B050"/>
                </a:solidFill>
              </a:rPr>
              <a:t>5º ano EF, Matemática</a:t>
            </a:r>
            <a:endParaRPr lang="pt-BR" sz="26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932989"/>
              </p:ext>
            </p:extLst>
          </p:nvPr>
        </p:nvGraphicFramePr>
        <p:xfrm>
          <a:off x="1043608" y="2780927"/>
          <a:ext cx="6840761" cy="3621810"/>
        </p:xfrm>
        <a:graphic>
          <a:graphicData uri="http://schemas.openxmlformats.org/drawingml/2006/table">
            <a:tbl>
              <a:tblPr/>
              <a:tblGrid>
                <a:gridCol w="2280253"/>
                <a:gridCol w="1140127"/>
                <a:gridCol w="1140127"/>
                <a:gridCol w="1140127"/>
                <a:gridCol w="1140127"/>
              </a:tblGrid>
              <a:tr h="574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RAGUAI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7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2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BAIXO AMAZONA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3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50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CARAJÁ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51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7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ARAJÓ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41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2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TROPOLITANA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3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23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ETÉ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2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2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CAPIM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2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505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RIO GUAMÁ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26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1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2,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PAJÓ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57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CANTIN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3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78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XINGU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45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1,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3477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24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,394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-2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kumimoji="0" lang="pt-BR" sz="14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98884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2069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98884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221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525860"/>
            <a:ext cx="561657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166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531352" cy="110872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pt-BR" sz="3200" b="1" dirty="0" smtClean="0">
                <a:solidFill>
                  <a:srgbClr val="002060"/>
                </a:solidFill>
              </a:rPr>
              <a:t>Interação com o </a:t>
            </a:r>
            <a:r>
              <a:rPr lang="pt-BR" sz="3200" b="1" dirty="0">
                <a:solidFill>
                  <a:srgbClr val="002060"/>
                </a:solidFill>
              </a:rPr>
              <a:t>C</a:t>
            </a:r>
            <a:r>
              <a:rPr lang="pt-BR" sz="3200" b="1" dirty="0" smtClean="0">
                <a:solidFill>
                  <a:srgbClr val="002060"/>
                </a:solidFill>
              </a:rPr>
              <a:t>omprometimento do Professor , na percepção do aluno</a:t>
            </a:r>
            <a:endParaRPr lang="pt-BR" b="1" dirty="0" smtClean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pt-BR" sz="2600" b="1" dirty="0" smtClean="0">
                <a:solidFill>
                  <a:srgbClr val="00B050"/>
                </a:solidFill>
              </a:rPr>
              <a:t>5º ano EF, Língua Portuguesa</a:t>
            </a:r>
            <a:endParaRPr lang="pt-BR" sz="26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0513259"/>
              </p:ext>
            </p:extLst>
          </p:nvPr>
        </p:nvGraphicFramePr>
        <p:xfrm>
          <a:off x="1043608" y="2780927"/>
          <a:ext cx="6840761" cy="3621810"/>
        </p:xfrm>
        <a:graphic>
          <a:graphicData uri="http://schemas.openxmlformats.org/drawingml/2006/table">
            <a:tbl>
              <a:tblPr/>
              <a:tblGrid>
                <a:gridCol w="2280253"/>
                <a:gridCol w="1140127"/>
                <a:gridCol w="1140127"/>
                <a:gridCol w="1140127"/>
                <a:gridCol w="1140127"/>
              </a:tblGrid>
              <a:tr h="574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6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1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17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6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40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29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23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13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1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58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8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5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45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3477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396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8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98884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6553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98884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340768"/>
            <a:ext cx="561657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572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531352" cy="110872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3200" b="1" dirty="0" smtClean="0">
                <a:solidFill>
                  <a:srgbClr val="002060"/>
                </a:solidFill>
              </a:rPr>
              <a:t>Interação com o </a:t>
            </a:r>
            <a:r>
              <a:rPr lang="pt-BR" sz="3200" b="1" dirty="0">
                <a:solidFill>
                  <a:srgbClr val="002060"/>
                </a:solidFill>
              </a:rPr>
              <a:t>C</a:t>
            </a:r>
            <a:r>
              <a:rPr lang="pt-BR" sz="3200" b="1" dirty="0" smtClean="0">
                <a:solidFill>
                  <a:srgbClr val="002060"/>
                </a:solidFill>
              </a:rPr>
              <a:t>omprometimento do Gestor</a:t>
            </a:r>
          </a:p>
          <a:p>
            <a:pPr marL="0" indent="0" algn="ctr">
              <a:buNone/>
            </a:pPr>
            <a:r>
              <a:rPr lang="pt-BR" sz="2200" b="1" dirty="0" smtClean="0">
                <a:solidFill>
                  <a:srgbClr val="00B050"/>
                </a:solidFill>
              </a:rPr>
              <a:t>5º ano EF, Língua Portuguesa</a:t>
            </a:r>
            <a:endParaRPr lang="pt-BR" sz="22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829259"/>
              </p:ext>
            </p:extLst>
          </p:nvPr>
        </p:nvGraphicFramePr>
        <p:xfrm>
          <a:off x="1043608" y="2780927"/>
          <a:ext cx="6840761" cy="3621810"/>
        </p:xfrm>
        <a:graphic>
          <a:graphicData uri="http://schemas.openxmlformats.org/drawingml/2006/table">
            <a:tbl>
              <a:tblPr/>
              <a:tblGrid>
                <a:gridCol w="2280253"/>
                <a:gridCol w="1140127"/>
                <a:gridCol w="1140127"/>
                <a:gridCol w="1140127"/>
                <a:gridCol w="1140127"/>
              </a:tblGrid>
              <a:tr h="57453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NOME_RI</a:t>
                      </a:r>
                      <a:endParaRPr lang="pt-BR" sz="1400" b="1" i="0" u="none" strike="noStrike" dirty="0">
                        <a:solidFill>
                          <a:srgbClr val="FFFF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édi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 dirty="0">
                          <a:solidFill>
                            <a:srgbClr val="FFFF00"/>
                          </a:solidFill>
                          <a:latin typeface="Arial"/>
                        </a:rPr>
                        <a:t>Mín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>
                          <a:solidFill>
                            <a:srgbClr val="FFFF00"/>
                          </a:solidFill>
                          <a:latin typeface="Arial"/>
                        </a:rPr>
                        <a:t>Máxim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AGUAI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98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AIXO AMAZONA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05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9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AJÁ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8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GO DE </a:t>
                      </a:r>
                      <a:r>
                        <a:rPr lang="pt-B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UCURUI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38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9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AJÓ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45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TROPOLITANA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2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3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ETÉ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2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6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CAPIM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4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O GUAMÁ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2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PAJÓ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8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CANTINS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075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  <a:tr h="260454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NGU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20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1,4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273477">
                <a:tc>
                  <a:txBody>
                    <a:bodyPr/>
                    <a:lstStyle/>
                    <a:p>
                      <a:pPr algn="l" fontAlgn="t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,11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2,4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8CCE4"/>
                    </a:solidFill>
                  </a:tcPr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98884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2347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32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1525860"/>
            <a:ext cx="59055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575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50" y="1525860"/>
            <a:ext cx="59055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96697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7952" y="188640"/>
            <a:ext cx="8766048" cy="990600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>Análise complementar: desempenho nas diferentes </a:t>
            </a:r>
            <a:r>
              <a:rPr lang="pt-BR" b="1" dirty="0" smtClean="0"/>
              <a:t>regiões</a:t>
            </a:r>
            <a:r>
              <a:rPr lang="pt-BR" dirty="0" smtClean="0"/>
              <a:t> do Estado</a:t>
            </a:r>
            <a:endParaRPr lang="pt-BR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126876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401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1597868"/>
            <a:ext cx="5616575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8390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124</TotalTime>
  <Words>8108</Words>
  <Application>Microsoft Office PowerPoint</Application>
  <PresentationFormat>Apresentação na tela (4:3)</PresentationFormat>
  <Paragraphs>3829</Paragraphs>
  <Slides>101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01</vt:i4>
      </vt:variant>
    </vt:vector>
  </HeadingPairs>
  <TitlesOfParts>
    <vt:vector size="104" baseType="lpstr">
      <vt:lpstr>Tema do Office</vt:lpstr>
      <vt:lpstr>3_Tema do Office</vt:lpstr>
      <vt:lpstr>think-cell Slide</vt:lpstr>
      <vt:lpstr>       Resultados Regionais 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édias de Proficiências  Língua Portuguesa</vt:lpstr>
      <vt:lpstr>Médias de Proficiências  Língua Portuguesa</vt:lpstr>
      <vt:lpstr>Médias de Proficiências  Língua Portuguesa</vt:lpstr>
      <vt:lpstr>Médias de Proficiências  Língua Portuguesa</vt:lpstr>
      <vt:lpstr>Médias de Proficiências  Língua Portuguesa</vt:lpstr>
      <vt:lpstr>Médias de Proficiências  Língua Portuguesa</vt:lpstr>
      <vt:lpstr>Médias de Proficiências  Língua Portuguesa</vt:lpstr>
      <vt:lpstr>Médias de Proficiências  Língua Portugues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édias de Proficiências  Matemática </vt:lpstr>
      <vt:lpstr>Médias de Proficiências  Matemática </vt:lpstr>
      <vt:lpstr>Médias de Proficiências  Matemática </vt:lpstr>
      <vt:lpstr>Médias de Proficiências  Matemática </vt:lpstr>
      <vt:lpstr>Médias de Proficiências  Matemática </vt:lpstr>
      <vt:lpstr>Médias de Proficiências  Matemática </vt:lpstr>
      <vt:lpstr>Médias de Proficiências  Matemática </vt:lpstr>
      <vt:lpstr>Médias de Proficiências  Matemática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         Fatores Associados ao Desempenho Escolar    </vt:lpstr>
      <vt:lpstr>          Objetivos</vt:lpstr>
      <vt:lpstr>Questionários do SisPAE</vt:lpstr>
      <vt:lpstr>Metodologia</vt:lpstr>
      <vt:lpstr>Medidas baseadas nos questionários respondidos pelos alunos</vt:lpstr>
      <vt:lpstr>Apresentação do PowerPoint</vt:lpstr>
      <vt:lpstr>Medidas baseadas nos questionários respondidos pelos alunos</vt:lpstr>
      <vt:lpstr>Medidas baseadas nos questionários respondidos pelos alunos</vt:lpstr>
      <vt:lpstr>Medidas baseadas nos questionários respondidos pelos alunos</vt:lpstr>
      <vt:lpstr>Apresentação do PowerPoint</vt:lpstr>
      <vt:lpstr>Apresentação do PowerPoint</vt:lpstr>
      <vt:lpstr>Apresentação do PowerPoint</vt:lpstr>
      <vt:lpstr>Apresentação do PowerPoint</vt:lpstr>
      <vt:lpstr>Medidas baseadas nos questionários respondidos pelos alunos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presentação do PowerPoint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nálise complementar: desempenho nas diferentes regiões do Estado</vt:lpstr>
      <vt:lpstr>Avaliação é um chapéu de muitas pontas. </vt:lpstr>
      <vt:lpstr>   Obrigado !  Guaracy Tadeu Rocha diretoria_academica@vunesp.com.br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483</cp:revision>
  <dcterms:created xsi:type="dcterms:W3CDTF">2015-02-24T13:33:29Z</dcterms:created>
  <dcterms:modified xsi:type="dcterms:W3CDTF">2015-05-08T19:24:22Z</dcterms:modified>
</cp:coreProperties>
</file>